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5" r:id="rId2"/>
  </p:sldMasterIdLst>
  <p:notesMasterIdLst>
    <p:notesMasterId r:id="rId30"/>
  </p:notesMasterIdLst>
  <p:handoutMasterIdLst>
    <p:handoutMasterId r:id="rId31"/>
  </p:handoutMasterIdLst>
  <p:sldIdLst>
    <p:sldId id="457" r:id="rId3"/>
    <p:sldId id="402" r:id="rId4"/>
    <p:sldId id="447" r:id="rId5"/>
    <p:sldId id="465" r:id="rId6"/>
    <p:sldId id="463" r:id="rId7"/>
    <p:sldId id="461" r:id="rId8"/>
    <p:sldId id="462" r:id="rId9"/>
    <p:sldId id="460" r:id="rId10"/>
    <p:sldId id="430" r:id="rId11"/>
    <p:sldId id="412" r:id="rId12"/>
    <p:sldId id="431" r:id="rId13"/>
    <p:sldId id="451" r:id="rId14"/>
    <p:sldId id="379" r:id="rId15"/>
    <p:sldId id="444" r:id="rId16"/>
    <p:sldId id="446" r:id="rId17"/>
    <p:sldId id="382" r:id="rId18"/>
    <p:sldId id="454" r:id="rId19"/>
    <p:sldId id="456" r:id="rId20"/>
    <p:sldId id="383" r:id="rId21"/>
    <p:sldId id="438" r:id="rId22"/>
    <p:sldId id="455" r:id="rId23"/>
    <p:sldId id="436" r:id="rId24"/>
    <p:sldId id="434" r:id="rId25"/>
    <p:sldId id="439" r:id="rId26"/>
    <p:sldId id="429" r:id="rId27"/>
    <p:sldId id="464" r:id="rId28"/>
    <p:sldId id="452" r:id="rId2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E2"/>
    <a:srgbClr val="0066CC"/>
    <a:srgbClr val="3897FA"/>
    <a:srgbClr val="67C1F9"/>
    <a:srgbClr val="3BAFF7"/>
    <a:srgbClr val="38A1FA"/>
    <a:srgbClr val="FBFBFB"/>
    <a:srgbClr val="22A5F6"/>
    <a:srgbClr val="3A5E86"/>
    <a:srgbClr val="2C9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94" autoAdjust="0"/>
    <p:restoredTop sz="72686" autoAdjust="0"/>
  </p:normalViewPr>
  <p:slideViewPr>
    <p:cSldViewPr>
      <p:cViewPr>
        <p:scale>
          <a:sx n="75" d="100"/>
          <a:sy n="75" d="100"/>
        </p:scale>
        <p:origin x="-1158" y="-2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-3888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E80FAB-0093-4843-88F5-FF6A776842C8}" type="doc">
      <dgm:prSet loTypeId="urn:microsoft.com/office/officeart/2011/layout/CircleProcess" loCatId="process" qsTypeId="urn:microsoft.com/office/officeart/2005/8/quickstyle/simple4" qsCatId="simple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896363A7-A7C7-4D78-97B5-913BDE821B99}">
      <dgm:prSet phldrT="[文本]" custT="1"/>
      <dgm:spPr/>
      <dgm:t>
        <a:bodyPr/>
        <a:lstStyle/>
        <a:p>
          <a:r>
            <a:rPr lang="zh-CN" altLang="en-US" sz="1000" dirty="0" smtClean="0">
              <a:solidFill>
                <a:srgbClr val="006699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合作“零”门槛</a:t>
          </a:r>
          <a:endParaRPr lang="zh-CN" altLang="en-US" sz="1000" dirty="0">
            <a:solidFill>
              <a:srgbClr val="006699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B0EEFCD-D3BA-44D6-89DD-AE626101BD30}" type="parTrans" cxnId="{7411DEEE-8E87-4893-A7A8-0A0AEDA3EF0F}">
      <dgm:prSet/>
      <dgm:spPr/>
      <dgm:t>
        <a:bodyPr/>
        <a:lstStyle/>
        <a:p>
          <a:endParaRPr lang="zh-CN" altLang="en-US"/>
        </a:p>
      </dgm:t>
    </dgm:pt>
    <dgm:pt modelId="{41744130-8B4D-4D18-BC34-54D310A98BBC}" type="sibTrans" cxnId="{7411DEEE-8E87-4893-A7A8-0A0AEDA3EF0F}">
      <dgm:prSet/>
      <dgm:spPr/>
      <dgm:t>
        <a:bodyPr/>
        <a:lstStyle/>
        <a:p>
          <a:endParaRPr lang="zh-CN" altLang="en-US"/>
        </a:p>
      </dgm:t>
    </dgm:pt>
    <dgm:pt modelId="{42717C3E-9F70-4662-B59A-2817ABAD9258}">
      <dgm:prSet phldrT="[文本]" custT="1"/>
      <dgm:spPr/>
      <dgm:t>
        <a:bodyPr/>
        <a:lstStyle/>
        <a:p>
          <a:r>
            <a:rPr lang="zh-CN" altLang="en-US" sz="1000" dirty="0" smtClean="0">
              <a:solidFill>
                <a:srgbClr val="006699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技术支持</a:t>
          </a:r>
          <a:endParaRPr lang="zh-CN" altLang="en-US" sz="1000" dirty="0">
            <a:solidFill>
              <a:srgbClr val="006699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F7BED79-1F46-434A-A209-3F4BDA23A72C}" type="parTrans" cxnId="{54AFA42D-4415-403D-BF82-266DB2027467}">
      <dgm:prSet/>
      <dgm:spPr/>
      <dgm:t>
        <a:bodyPr/>
        <a:lstStyle/>
        <a:p>
          <a:endParaRPr lang="zh-CN" altLang="en-US"/>
        </a:p>
      </dgm:t>
    </dgm:pt>
    <dgm:pt modelId="{A549192F-FF77-4F3D-A029-45B3BD04C0E5}" type="sibTrans" cxnId="{54AFA42D-4415-403D-BF82-266DB2027467}">
      <dgm:prSet/>
      <dgm:spPr/>
      <dgm:t>
        <a:bodyPr/>
        <a:lstStyle/>
        <a:p>
          <a:endParaRPr lang="zh-CN" altLang="en-US"/>
        </a:p>
      </dgm:t>
    </dgm:pt>
    <dgm:pt modelId="{D6677E2D-2623-43B2-9122-3007D4D3EFBC}">
      <dgm:prSet phldrT="[文本]" custT="1"/>
      <dgm:spPr/>
      <dgm:t>
        <a:bodyPr/>
        <a:lstStyle/>
        <a:p>
          <a:r>
            <a:rPr lang="zh-CN" altLang="en-US" sz="1000" dirty="0" smtClean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金融服务与资金支持</a:t>
          </a:r>
          <a:endParaRPr lang="zh-CN" altLang="en-US" sz="1000" dirty="0">
            <a:solidFill>
              <a:srgbClr val="0066CC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B38577E-8C76-476E-A14F-CFF95B23DDA7}" type="parTrans" cxnId="{2E0490F1-1A3F-47F9-8C48-BBCFC0062A37}">
      <dgm:prSet/>
      <dgm:spPr/>
      <dgm:t>
        <a:bodyPr/>
        <a:lstStyle/>
        <a:p>
          <a:endParaRPr lang="zh-CN" altLang="en-US"/>
        </a:p>
      </dgm:t>
    </dgm:pt>
    <dgm:pt modelId="{CF361BD0-1930-4560-9B1B-138A18FC6406}" type="sibTrans" cxnId="{2E0490F1-1A3F-47F9-8C48-BBCFC0062A37}">
      <dgm:prSet/>
      <dgm:spPr/>
      <dgm:t>
        <a:bodyPr/>
        <a:lstStyle/>
        <a:p>
          <a:endParaRPr lang="zh-CN" altLang="en-US"/>
        </a:p>
      </dgm:t>
    </dgm:pt>
    <dgm:pt modelId="{42C2D1C3-20FB-4707-882A-77F72D5E5FB4}">
      <dgm:prSet phldrT="[文本]" custT="1"/>
      <dgm:spPr/>
      <dgm:t>
        <a:bodyPr/>
        <a:lstStyle/>
        <a:p>
          <a:r>
            <a:rPr lang="zh-CN" altLang="en-US" sz="1000" dirty="0" smtClean="0">
              <a:solidFill>
                <a:srgbClr val="431399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供应链服务支持</a:t>
          </a:r>
          <a:endParaRPr lang="zh-CN" altLang="en-US" sz="1000" dirty="0">
            <a:solidFill>
              <a:srgbClr val="431399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390DF46-49CB-4B98-A023-E210619542C8}" type="parTrans" cxnId="{D856B1A9-455D-4E43-9D41-C566AE93452D}">
      <dgm:prSet/>
      <dgm:spPr/>
      <dgm:t>
        <a:bodyPr/>
        <a:lstStyle/>
        <a:p>
          <a:endParaRPr lang="zh-CN" altLang="en-US"/>
        </a:p>
      </dgm:t>
    </dgm:pt>
    <dgm:pt modelId="{96C70A0A-038D-49FB-8EB5-5298586CD8DE}" type="sibTrans" cxnId="{D856B1A9-455D-4E43-9D41-C566AE93452D}">
      <dgm:prSet/>
      <dgm:spPr/>
      <dgm:t>
        <a:bodyPr/>
        <a:lstStyle/>
        <a:p>
          <a:endParaRPr lang="zh-CN" altLang="en-US"/>
        </a:p>
      </dgm:t>
    </dgm:pt>
    <dgm:pt modelId="{B66664C1-CBBB-4173-BB01-B7632345E154}">
      <dgm:prSet phldrT="[文本]" custT="1"/>
      <dgm:spPr/>
      <dgm:t>
        <a:bodyPr/>
        <a:lstStyle/>
        <a:p>
          <a:r>
            <a:rPr lang="zh-CN" altLang="en-US" sz="1000" dirty="0" smtClean="0">
              <a:solidFill>
                <a:srgbClr val="263BA6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营销“绿”通道</a:t>
          </a:r>
          <a:endParaRPr lang="zh-CN" altLang="en-US" sz="1000" dirty="0">
            <a:solidFill>
              <a:srgbClr val="263BA6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97F0C38-001D-42E8-94B7-3B4546C1500F}" type="parTrans" cxnId="{97CD44C5-A9DB-4301-A014-EDE48E3A030F}">
      <dgm:prSet/>
      <dgm:spPr/>
      <dgm:t>
        <a:bodyPr/>
        <a:lstStyle/>
        <a:p>
          <a:endParaRPr lang="zh-CN" altLang="en-US"/>
        </a:p>
      </dgm:t>
    </dgm:pt>
    <dgm:pt modelId="{2F0FF4AC-CC81-43F9-927B-4388ABF165F4}" type="sibTrans" cxnId="{97CD44C5-A9DB-4301-A014-EDE48E3A030F}">
      <dgm:prSet/>
      <dgm:spPr/>
      <dgm:t>
        <a:bodyPr/>
        <a:lstStyle/>
        <a:p>
          <a:endParaRPr lang="zh-CN" altLang="en-US"/>
        </a:p>
      </dgm:t>
    </dgm:pt>
    <dgm:pt modelId="{885524F1-C8A1-409C-920C-76F04CD8C51C}">
      <dgm:prSet phldrT="[文本]" custT="1"/>
      <dgm:spPr/>
      <dgm:t>
        <a:bodyPr/>
        <a:lstStyle/>
        <a:p>
          <a:r>
            <a:rPr lang="zh-CN" altLang="en-US" sz="1000" dirty="0" smtClean="0">
              <a:solidFill>
                <a:srgbClr val="431399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数据“全”共享</a:t>
          </a:r>
          <a:endParaRPr lang="zh-CN" altLang="en-US" sz="1000" dirty="0">
            <a:solidFill>
              <a:srgbClr val="431399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7C962A9-87FF-444A-A952-4A83DF1D924B}" type="parTrans" cxnId="{8E1B8255-E41B-4805-A40F-C3C724DDCC6F}">
      <dgm:prSet/>
      <dgm:spPr/>
      <dgm:t>
        <a:bodyPr/>
        <a:lstStyle/>
        <a:p>
          <a:endParaRPr lang="zh-CN" altLang="en-US"/>
        </a:p>
      </dgm:t>
    </dgm:pt>
    <dgm:pt modelId="{32970A8D-1D55-48C8-A50D-7978DAF37B9F}" type="sibTrans" cxnId="{8E1B8255-E41B-4805-A40F-C3C724DDCC6F}">
      <dgm:prSet/>
      <dgm:spPr/>
      <dgm:t>
        <a:bodyPr/>
        <a:lstStyle/>
        <a:p>
          <a:endParaRPr lang="zh-CN" altLang="en-US"/>
        </a:p>
      </dgm:t>
    </dgm:pt>
    <dgm:pt modelId="{7D1032CD-BA80-4124-A8B1-1788C2B8BB91}" type="pres">
      <dgm:prSet presAssocID="{B4E80FAB-0093-4843-88F5-FF6A776842C8}" presName="Name0" presStyleCnt="0">
        <dgm:presLayoutVars>
          <dgm:chMax val="11"/>
          <dgm:chPref val="11"/>
          <dgm:dir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FB41CD24-D3CE-40DD-8354-54497731E3B8}" type="pres">
      <dgm:prSet presAssocID="{885524F1-C8A1-409C-920C-76F04CD8C51C}" presName="Accent6" presStyleCnt="0"/>
      <dgm:spPr/>
    </dgm:pt>
    <dgm:pt modelId="{4B77DA59-3D69-4491-BD4C-52C5AC33E3E6}" type="pres">
      <dgm:prSet presAssocID="{885524F1-C8A1-409C-920C-76F04CD8C51C}" presName="Accent" presStyleLbl="node1" presStyleIdx="0" presStyleCnt="6"/>
      <dgm:spPr/>
    </dgm:pt>
    <dgm:pt modelId="{C84E7C04-1EDD-4E81-BE6A-F84C4C9B5554}" type="pres">
      <dgm:prSet presAssocID="{885524F1-C8A1-409C-920C-76F04CD8C51C}" presName="ParentBackground6" presStyleCnt="0"/>
      <dgm:spPr/>
    </dgm:pt>
    <dgm:pt modelId="{CF32D335-36DB-48FA-A3AB-419780DF756C}" type="pres">
      <dgm:prSet presAssocID="{885524F1-C8A1-409C-920C-76F04CD8C51C}" presName="ParentBackground" presStyleLbl="fgAcc1" presStyleIdx="0" presStyleCnt="6"/>
      <dgm:spPr/>
      <dgm:t>
        <a:bodyPr/>
        <a:lstStyle/>
        <a:p>
          <a:endParaRPr lang="zh-CN" altLang="en-US"/>
        </a:p>
      </dgm:t>
    </dgm:pt>
    <dgm:pt modelId="{70E35EED-3B9B-482A-BBC3-30FB5ED0FAB9}" type="pres">
      <dgm:prSet presAssocID="{885524F1-C8A1-409C-920C-76F04CD8C51C}" presName="Parent6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9CBB11F-ABA9-4851-8F67-C1419CE1F0C5}" type="pres">
      <dgm:prSet presAssocID="{42C2D1C3-20FB-4707-882A-77F72D5E5FB4}" presName="Accent5" presStyleCnt="0"/>
      <dgm:spPr/>
    </dgm:pt>
    <dgm:pt modelId="{472CCF84-20E7-400A-8B10-A065106987CB}" type="pres">
      <dgm:prSet presAssocID="{42C2D1C3-20FB-4707-882A-77F72D5E5FB4}" presName="Accent" presStyleLbl="node1" presStyleIdx="1" presStyleCnt="6"/>
      <dgm:spPr/>
    </dgm:pt>
    <dgm:pt modelId="{8ADCC716-97C8-4C80-8CB5-29A80C211FB6}" type="pres">
      <dgm:prSet presAssocID="{42C2D1C3-20FB-4707-882A-77F72D5E5FB4}" presName="ParentBackground5" presStyleCnt="0"/>
      <dgm:spPr/>
    </dgm:pt>
    <dgm:pt modelId="{9462FA95-35EC-4600-B382-886049F3420F}" type="pres">
      <dgm:prSet presAssocID="{42C2D1C3-20FB-4707-882A-77F72D5E5FB4}" presName="ParentBackground" presStyleLbl="fgAcc1" presStyleIdx="1" presStyleCnt="6"/>
      <dgm:spPr/>
      <dgm:t>
        <a:bodyPr/>
        <a:lstStyle/>
        <a:p>
          <a:endParaRPr lang="zh-CN" altLang="en-US"/>
        </a:p>
      </dgm:t>
    </dgm:pt>
    <dgm:pt modelId="{65B1C700-D710-413E-98A6-2F674B3E485B}" type="pres">
      <dgm:prSet presAssocID="{42C2D1C3-20FB-4707-882A-77F72D5E5FB4}" presName="Parent5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13C5A40-A4E6-4863-9C03-F7CB423281B4}" type="pres">
      <dgm:prSet presAssocID="{B66664C1-CBBB-4173-BB01-B7632345E154}" presName="Accent4" presStyleCnt="0"/>
      <dgm:spPr/>
    </dgm:pt>
    <dgm:pt modelId="{12D991CB-9289-4BAE-880D-D657C781E524}" type="pres">
      <dgm:prSet presAssocID="{B66664C1-CBBB-4173-BB01-B7632345E154}" presName="Accent" presStyleLbl="node1" presStyleIdx="2" presStyleCnt="6"/>
      <dgm:spPr/>
    </dgm:pt>
    <dgm:pt modelId="{132B89EC-EA9A-47A5-B875-7707E452C2BB}" type="pres">
      <dgm:prSet presAssocID="{B66664C1-CBBB-4173-BB01-B7632345E154}" presName="ParentBackground4" presStyleCnt="0"/>
      <dgm:spPr/>
    </dgm:pt>
    <dgm:pt modelId="{8721D4B7-930B-41E2-8D86-181D88917310}" type="pres">
      <dgm:prSet presAssocID="{B66664C1-CBBB-4173-BB01-B7632345E154}" presName="ParentBackground" presStyleLbl="fgAcc1" presStyleIdx="2" presStyleCnt="6"/>
      <dgm:spPr/>
      <dgm:t>
        <a:bodyPr/>
        <a:lstStyle/>
        <a:p>
          <a:endParaRPr lang="zh-CN" altLang="en-US"/>
        </a:p>
      </dgm:t>
    </dgm:pt>
    <dgm:pt modelId="{8D73C077-66DF-4473-BAF0-C4A62BB78345}" type="pres">
      <dgm:prSet presAssocID="{B66664C1-CBBB-4173-BB01-B7632345E154}" presName="Parent4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8DBFFFD-556A-487D-AF11-84FD2946356F}" type="pres">
      <dgm:prSet presAssocID="{D6677E2D-2623-43B2-9122-3007D4D3EFBC}" presName="Accent3" presStyleCnt="0"/>
      <dgm:spPr/>
    </dgm:pt>
    <dgm:pt modelId="{569C17D9-DF33-4055-8797-33C28710324A}" type="pres">
      <dgm:prSet presAssocID="{D6677E2D-2623-43B2-9122-3007D4D3EFBC}" presName="Accent" presStyleLbl="node1" presStyleIdx="3" presStyleCnt="6"/>
      <dgm:spPr/>
    </dgm:pt>
    <dgm:pt modelId="{97893E5D-6AC1-4E73-9085-2F125819F2F6}" type="pres">
      <dgm:prSet presAssocID="{D6677E2D-2623-43B2-9122-3007D4D3EFBC}" presName="ParentBackground3" presStyleCnt="0"/>
      <dgm:spPr/>
    </dgm:pt>
    <dgm:pt modelId="{6AC942F9-256A-47C9-9318-90F288F2518E}" type="pres">
      <dgm:prSet presAssocID="{D6677E2D-2623-43B2-9122-3007D4D3EFBC}" presName="ParentBackground" presStyleLbl="fgAcc1" presStyleIdx="3" presStyleCnt="6"/>
      <dgm:spPr/>
      <dgm:t>
        <a:bodyPr/>
        <a:lstStyle/>
        <a:p>
          <a:endParaRPr lang="zh-CN" altLang="en-US"/>
        </a:p>
      </dgm:t>
    </dgm:pt>
    <dgm:pt modelId="{61A6C4D7-2650-4568-9888-C65E628D0370}" type="pres">
      <dgm:prSet presAssocID="{D6677E2D-2623-43B2-9122-3007D4D3EFBC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DA752C-AF9E-4A7C-9349-577E2D6FE989}" type="pres">
      <dgm:prSet presAssocID="{42717C3E-9F70-4662-B59A-2817ABAD9258}" presName="Accent2" presStyleCnt="0"/>
      <dgm:spPr/>
    </dgm:pt>
    <dgm:pt modelId="{B2D55CA2-E3B5-478A-A066-77FC9376CEA5}" type="pres">
      <dgm:prSet presAssocID="{42717C3E-9F70-4662-B59A-2817ABAD9258}" presName="Accent" presStyleLbl="node1" presStyleIdx="4" presStyleCnt="6"/>
      <dgm:spPr/>
    </dgm:pt>
    <dgm:pt modelId="{E53700F3-9420-483A-9610-4537428ACA23}" type="pres">
      <dgm:prSet presAssocID="{42717C3E-9F70-4662-B59A-2817ABAD9258}" presName="ParentBackground2" presStyleCnt="0"/>
      <dgm:spPr/>
    </dgm:pt>
    <dgm:pt modelId="{55DA5444-D7AB-42C5-8C2F-A6430B07BEDC}" type="pres">
      <dgm:prSet presAssocID="{42717C3E-9F70-4662-B59A-2817ABAD9258}" presName="ParentBackground" presStyleLbl="fgAcc1" presStyleIdx="4" presStyleCnt="6"/>
      <dgm:spPr/>
      <dgm:t>
        <a:bodyPr/>
        <a:lstStyle/>
        <a:p>
          <a:endParaRPr lang="zh-CN" altLang="en-US"/>
        </a:p>
      </dgm:t>
    </dgm:pt>
    <dgm:pt modelId="{CE3BF669-91A3-475C-AB5D-A16F11EB119D}" type="pres">
      <dgm:prSet presAssocID="{42717C3E-9F70-4662-B59A-2817ABAD9258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CC15C81-5428-4D70-9BC4-E6014C32721A}" type="pres">
      <dgm:prSet presAssocID="{896363A7-A7C7-4D78-97B5-913BDE821B99}" presName="Accent1" presStyleCnt="0"/>
      <dgm:spPr/>
    </dgm:pt>
    <dgm:pt modelId="{A94D1845-2377-4130-A0DC-D37BF483EC1B}" type="pres">
      <dgm:prSet presAssocID="{896363A7-A7C7-4D78-97B5-913BDE821B99}" presName="Accent" presStyleLbl="node1" presStyleIdx="5" presStyleCnt="6"/>
      <dgm:spPr/>
    </dgm:pt>
    <dgm:pt modelId="{CB8A1145-4246-4BD5-B583-1173F29ECD12}" type="pres">
      <dgm:prSet presAssocID="{896363A7-A7C7-4D78-97B5-913BDE821B99}" presName="ParentBackground1" presStyleCnt="0"/>
      <dgm:spPr/>
    </dgm:pt>
    <dgm:pt modelId="{9EAB1166-AC45-478A-9154-FFDF4563CB5F}" type="pres">
      <dgm:prSet presAssocID="{896363A7-A7C7-4D78-97B5-913BDE821B99}" presName="ParentBackground" presStyleLbl="fgAcc1" presStyleIdx="5" presStyleCnt="6"/>
      <dgm:spPr/>
      <dgm:t>
        <a:bodyPr/>
        <a:lstStyle/>
        <a:p>
          <a:endParaRPr lang="zh-CN" altLang="en-US"/>
        </a:p>
      </dgm:t>
    </dgm:pt>
    <dgm:pt modelId="{F1159B85-6794-4CC3-A332-2240761AC3DC}" type="pres">
      <dgm:prSet presAssocID="{896363A7-A7C7-4D78-97B5-913BDE821B99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7F0B2E89-05CD-46C3-9C11-4A2D3B4258CB}" type="presOf" srcId="{B4E80FAB-0093-4843-88F5-FF6A776842C8}" destId="{7D1032CD-BA80-4124-A8B1-1788C2B8BB91}" srcOrd="0" destOrd="0" presId="urn:microsoft.com/office/officeart/2011/layout/CircleProcess"/>
    <dgm:cxn modelId="{BE91ED9A-133B-4727-B8FE-29CF69D15B4C}" type="presOf" srcId="{B66664C1-CBBB-4173-BB01-B7632345E154}" destId="{8721D4B7-930B-41E2-8D86-181D88917310}" srcOrd="0" destOrd="0" presId="urn:microsoft.com/office/officeart/2011/layout/CircleProcess"/>
    <dgm:cxn modelId="{F53B32DE-33B0-4B3C-8C92-5110F2D64FF5}" type="presOf" srcId="{885524F1-C8A1-409C-920C-76F04CD8C51C}" destId="{CF32D335-36DB-48FA-A3AB-419780DF756C}" srcOrd="0" destOrd="0" presId="urn:microsoft.com/office/officeart/2011/layout/CircleProcess"/>
    <dgm:cxn modelId="{0E72FFA8-6CA1-402D-BB23-3F1998FC94B3}" type="presOf" srcId="{896363A7-A7C7-4D78-97B5-913BDE821B99}" destId="{F1159B85-6794-4CC3-A332-2240761AC3DC}" srcOrd="1" destOrd="0" presId="urn:microsoft.com/office/officeart/2011/layout/CircleProcess"/>
    <dgm:cxn modelId="{8E1B8255-E41B-4805-A40F-C3C724DDCC6F}" srcId="{B4E80FAB-0093-4843-88F5-FF6A776842C8}" destId="{885524F1-C8A1-409C-920C-76F04CD8C51C}" srcOrd="5" destOrd="0" parTransId="{17C962A9-87FF-444A-A952-4A83DF1D924B}" sibTransId="{32970A8D-1D55-48C8-A50D-7978DAF37B9F}"/>
    <dgm:cxn modelId="{7CB1838D-82DC-4569-9CD5-8A5B7ECB2670}" type="presOf" srcId="{42C2D1C3-20FB-4707-882A-77F72D5E5FB4}" destId="{9462FA95-35EC-4600-B382-886049F3420F}" srcOrd="0" destOrd="0" presId="urn:microsoft.com/office/officeart/2011/layout/CircleProcess"/>
    <dgm:cxn modelId="{3D5F9095-3F83-4627-8CD7-C031F7E8D1E9}" type="presOf" srcId="{896363A7-A7C7-4D78-97B5-913BDE821B99}" destId="{9EAB1166-AC45-478A-9154-FFDF4563CB5F}" srcOrd="0" destOrd="0" presId="urn:microsoft.com/office/officeart/2011/layout/CircleProcess"/>
    <dgm:cxn modelId="{5F878564-A822-410C-99D3-C2CD1FA9A5C2}" type="presOf" srcId="{42717C3E-9F70-4662-B59A-2817ABAD9258}" destId="{CE3BF669-91A3-475C-AB5D-A16F11EB119D}" srcOrd="1" destOrd="0" presId="urn:microsoft.com/office/officeart/2011/layout/CircleProcess"/>
    <dgm:cxn modelId="{7411DEEE-8E87-4893-A7A8-0A0AEDA3EF0F}" srcId="{B4E80FAB-0093-4843-88F5-FF6A776842C8}" destId="{896363A7-A7C7-4D78-97B5-913BDE821B99}" srcOrd="0" destOrd="0" parTransId="{8B0EEFCD-D3BA-44D6-89DD-AE626101BD30}" sibTransId="{41744130-8B4D-4D18-BC34-54D310A98BBC}"/>
    <dgm:cxn modelId="{F3E21FAF-DBA1-4FF3-91A3-A70B6F4B765E}" type="presOf" srcId="{B66664C1-CBBB-4173-BB01-B7632345E154}" destId="{8D73C077-66DF-4473-BAF0-C4A62BB78345}" srcOrd="1" destOrd="0" presId="urn:microsoft.com/office/officeart/2011/layout/CircleProcess"/>
    <dgm:cxn modelId="{2E0490F1-1A3F-47F9-8C48-BBCFC0062A37}" srcId="{B4E80FAB-0093-4843-88F5-FF6A776842C8}" destId="{D6677E2D-2623-43B2-9122-3007D4D3EFBC}" srcOrd="2" destOrd="0" parTransId="{9B38577E-8C76-476E-A14F-CFF95B23DDA7}" sibTransId="{CF361BD0-1930-4560-9B1B-138A18FC6406}"/>
    <dgm:cxn modelId="{565C8650-E3EF-46A1-B96A-564F3345DC2D}" type="presOf" srcId="{42717C3E-9F70-4662-B59A-2817ABAD9258}" destId="{55DA5444-D7AB-42C5-8C2F-A6430B07BEDC}" srcOrd="0" destOrd="0" presId="urn:microsoft.com/office/officeart/2011/layout/CircleProcess"/>
    <dgm:cxn modelId="{1962D588-9094-4867-9334-F8FDC9795866}" type="presOf" srcId="{42C2D1C3-20FB-4707-882A-77F72D5E5FB4}" destId="{65B1C700-D710-413E-98A6-2F674B3E485B}" srcOrd="1" destOrd="0" presId="urn:microsoft.com/office/officeart/2011/layout/CircleProcess"/>
    <dgm:cxn modelId="{D856B1A9-455D-4E43-9D41-C566AE93452D}" srcId="{B4E80FAB-0093-4843-88F5-FF6A776842C8}" destId="{42C2D1C3-20FB-4707-882A-77F72D5E5FB4}" srcOrd="4" destOrd="0" parTransId="{F390DF46-49CB-4B98-A023-E210619542C8}" sibTransId="{96C70A0A-038D-49FB-8EB5-5298586CD8DE}"/>
    <dgm:cxn modelId="{189CB164-57CE-4C75-8ED3-D8004E0E85C4}" type="presOf" srcId="{D6677E2D-2623-43B2-9122-3007D4D3EFBC}" destId="{6AC942F9-256A-47C9-9318-90F288F2518E}" srcOrd="0" destOrd="0" presId="urn:microsoft.com/office/officeart/2011/layout/CircleProcess"/>
    <dgm:cxn modelId="{21BA1E3B-6D66-45EA-8E6D-B1616D46A28C}" type="presOf" srcId="{D6677E2D-2623-43B2-9122-3007D4D3EFBC}" destId="{61A6C4D7-2650-4568-9888-C65E628D0370}" srcOrd="1" destOrd="0" presId="urn:microsoft.com/office/officeart/2011/layout/CircleProcess"/>
    <dgm:cxn modelId="{54AFA42D-4415-403D-BF82-266DB2027467}" srcId="{B4E80FAB-0093-4843-88F5-FF6A776842C8}" destId="{42717C3E-9F70-4662-B59A-2817ABAD9258}" srcOrd="1" destOrd="0" parTransId="{CF7BED79-1F46-434A-A209-3F4BDA23A72C}" sibTransId="{A549192F-FF77-4F3D-A029-45B3BD04C0E5}"/>
    <dgm:cxn modelId="{951B53CA-7E0F-41D9-9574-AE93A35E80A2}" type="presOf" srcId="{885524F1-C8A1-409C-920C-76F04CD8C51C}" destId="{70E35EED-3B9B-482A-BBC3-30FB5ED0FAB9}" srcOrd="1" destOrd="0" presId="urn:microsoft.com/office/officeart/2011/layout/CircleProcess"/>
    <dgm:cxn modelId="{97CD44C5-A9DB-4301-A014-EDE48E3A030F}" srcId="{B4E80FAB-0093-4843-88F5-FF6A776842C8}" destId="{B66664C1-CBBB-4173-BB01-B7632345E154}" srcOrd="3" destOrd="0" parTransId="{A97F0C38-001D-42E8-94B7-3B4546C1500F}" sibTransId="{2F0FF4AC-CC81-43F9-927B-4388ABF165F4}"/>
    <dgm:cxn modelId="{4ACB43A5-DFF0-4B61-8C39-0A08CEA53816}" type="presParOf" srcId="{7D1032CD-BA80-4124-A8B1-1788C2B8BB91}" destId="{FB41CD24-D3CE-40DD-8354-54497731E3B8}" srcOrd="0" destOrd="0" presId="urn:microsoft.com/office/officeart/2011/layout/CircleProcess"/>
    <dgm:cxn modelId="{2DD4CE58-FB68-4F11-A7E7-3A16E1841EFF}" type="presParOf" srcId="{FB41CD24-D3CE-40DD-8354-54497731E3B8}" destId="{4B77DA59-3D69-4491-BD4C-52C5AC33E3E6}" srcOrd="0" destOrd="0" presId="urn:microsoft.com/office/officeart/2011/layout/CircleProcess"/>
    <dgm:cxn modelId="{8DF674F4-998F-414F-8736-7F0E37FCD10C}" type="presParOf" srcId="{7D1032CD-BA80-4124-A8B1-1788C2B8BB91}" destId="{C84E7C04-1EDD-4E81-BE6A-F84C4C9B5554}" srcOrd="1" destOrd="0" presId="urn:microsoft.com/office/officeart/2011/layout/CircleProcess"/>
    <dgm:cxn modelId="{4CF8D0B1-0832-420B-8346-586FBC7A6018}" type="presParOf" srcId="{C84E7C04-1EDD-4E81-BE6A-F84C4C9B5554}" destId="{CF32D335-36DB-48FA-A3AB-419780DF756C}" srcOrd="0" destOrd="0" presId="urn:microsoft.com/office/officeart/2011/layout/CircleProcess"/>
    <dgm:cxn modelId="{5016A928-4EA0-4F71-94A5-C7075CAE952B}" type="presParOf" srcId="{7D1032CD-BA80-4124-A8B1-1788C2B8BB91}" destId="{70E35EED-3B9B-482A-BBC3-30FB5ED0FAB9}" srcOrd="2" destOrd="0" presId="urn:microsoft.com/office/officeart/2011/layout/CircleProcess"/>
    <dgm:cxn modelId="{6A3F3EAE-1337-4746-8AE6-75A8CD2EECB0}" type="presParOf" srcId="{7D1032CD-BA80-4124-A8B1-1788C2B8BB91}" destId="{89CBB11F-ABA9-4851-8F67-C1419CE1F0C5}" srcOrd="3" destOrd="0" presId="urn:microsoft.com/office/officeart/2011/layout/CircleProcess"/>
    <dgm:cxn modelId="{8AFC0F6E-3D29-49BE-BDAF-F6AB72D9694C}" type="presParOf" srcId="{89CBB11F-ABA9-4851-8F67-C1419CE1F0C5}" destId="{472CCF84-20E7-400A-8B10-A065106987CB}" srcOrd="0" destOrd="0" presId="urn:microsoft.com/office/officeart/2011/layout/CircleProcess"/>
    <dgm:cxn modelId="{3E320B7B-E363-46D8-A7C1-F628C40C62B5}" type="presParOf" srcId="{7D1032CD-BA80-4124-A8B1-1788C2B8BB91}" destId="{8ADCC716-97C8-4C80-8CB5-29A80C211FB6}" srcOrd="4" destOrd="0" presId="urn:microsoft.com/office/officeart/2011/layout/CircleProcess"/>
    <dgm:cxn modelId="{36D3E814-DE5D-42CB-86C8-CDCAF6A4339E}" type="presParOf" srcId="{8ADCC716-97C8-4C80-8CB5-29A80C211FB6}" destId="{9462FA95-35EC-4600-B382-886049F3420F}" srcOrd="0" destOrd="0" presId="urn:microsoft.com/office/officeart/2011/layout/CircleProcess"/>
    <dgm:cxn modelId="{953A8A4D-0E54-4600-B98F-6DAD581DB92C}" type="presParOf" srcId="{7D1032CD-BA80-4124-A8B1-1788C2B8BB91}" destId="{65B1C700-D710-413E-98A6-2F674B3E485B}" srcOrd="5" destOrd="0" presId="urn:microsoft.com/office/officeart/2011/layout/CircleProcess"/>
    <dgm:cxn modelId="{A20B7CD9-00CB-4CA5-B66C-A07CF75FAEEE}" type="presParOf" srcId="{7D1032CD-BA80-4124-A8B1-1788C2B8BB91}" destId="{F13C5A40-A4E6-4863-9C03-F7CB423281B4}" srcOrd="6" destOrd="0" presId="urn:microsoft.com/office/officeart/2011/layout/CircleProcess"/>
    <dgm:cxn modelId="{1009CABE-A890-4542-B03D-091B4D08983C}" type="presParOf" srcId="{F13C5A40-A4E6-4863-9C03-F7CB423281B4}" destId="{12D991CB-9289-4BAE-880D-D657C781E524}" srcOrd="0" destOrd="0" presId="urn:microsoft.com/office/officeart/2011/layout/CircleProcess"/>
    <dgm:cxn modelId="{72F4FF0A-456D-4D7F-8E44-B2BC88935C8C}" type="presParOf" srcId="{7D1032CD-BA80-4124-A8B1-1788C2B8BB91}" destId="{132B89EC-EA9A-47A5-B875-7707E452C2BB}" srcOrd="7" destOrd="0" presId="urn:microsoft.com/office/officeart/2011/layout/CircleProcess"/>
    <dgm:cxn modelId="{36BF040B-B639-49FA-81C6-841F8119E32B}" type="presParOf" srcId="{132B89EC-EA9A-47A5-B875-7707E452C2BB}" destId="{8721D4B7-930B-41E2-8D86-181D88917310}" srcOrd="0" destOrd="0" presId="urn:microsoft.com/office/officeart/2011/layout/CircleProcess"/>
    <dgm:cxn modelId="{0B5A8490-BBF0-405E-B06C-16D07D5C616E}" type="presParOf" srcId="{7D1032CD-BA80-4124-A8B1-1788C2B8BB91}" destId="{8D73C077-66DF-4473-BAF0-C4A62BB78345}" srcOrd="8" destOrd="0" presId="urn:microsoft.com/office/officeart/2011/layout/CircleProcess"/>
    <dgm:cxn modelId="{32AD4188-2707-4B5D-AC89-0BFA52C99188}" type="presParOf" srcId="{7D1032CD-BA80-4124-A8B1-1788C2B8BB91}" destId="{88DBFFFD-556A-487D-AF11-84FD2946356F}" srcOrd="9" destOrd="0" presId="urn:microsoft.com/office/officeart/2011/layout/CircleProcess"/>
    <dgm:cxn modelId="{76D9D73A-5026-4305-BA4E-74A176D036AC}" type="presParOf" srcId="{88DBFFFD-556A-487D-AF11-84FD2946356F}" destId="{569C17D9-DF33-4055-8797-33C28710324A}" srcOrd="0" destOrd="0" presId="urn:microsoft.com/office/officeart/2011/layout/CircleProcess"/>
    <dgm:cxn modelId="{90018CA6-A541-4E16-9595-903E4A87017D}" type="presParOf" srcId="{7D1032CD-BA80-4124-A8B1-1788C2B8BB91}" destId="{97893E5D-6AC1-4E73-9085-2F125819F2F6}" srcOrd="10" destOrd="0" presId="urn:microsoft.com/office/officeart/2011/layout/CircleProcess"/>
    <dgm:cxn modelId="{79F5AB5F-1E08-43D5-A664-570AFD8546EE}" type="presParOf" srcId="{97893E5D-6AC1-4E73-9085-2F125819F2F6}" destId="{6AC942F9-256A-47C9-9318-90F288F2518E}" srcOrd="0" destOrd="0" presId="urn:microsoft.com/office/officeart/2011/layout/CircleProcess"/>
    <dgm:cxn modelId="{68D4DF2F-5CFD-4991-BA64-D041093EDCA1}" type="presParOf" srcId="{7D1032CD-BA80-4124-A8B1-1788C2B8BB91}" destId="{61A6C4D7-2650-4568-9888-C65E628D0370}" srcOrd="11" destOrd="0" presId="urn:microsoft.com/office/officeart/2011/layout/CircleProcess"/>
    <dgm:cxn modelId="{A5576C37-7D4C-43EE-B9A2-F73116985B2C}" type="presParOf" srcId="{7D1032CD-BA80-4124-A8B1-1788C2B8BB91}" destId="{A2DA752C-AF9E-4A7C-9349-577E2D6FE989}" srcOrd="12" destOrd="0" presId="urn:microsoft.com/office/officeart/2011/layout/CircleProcess"/>
    <dgm:cxn modelId="{6DA4B889-C2A2-4C7D-ABFC-64163074CCA5}" type="presParOf" srcId="{A2DA752C-AF9E-4A7C-9349-577E2D6FE989}" destId="{B2D55CA2-E3B5-478A-A066-77FC9376CEA5}" srcOrd="0" destOrd="0" presId="urn:microsoft.com/office/officeart/2011/layout/CircleProcess"/>
    <dgm:cxn modelId="{87E880CA-BB6E-49CF-902D-5EBA380BA9A4}" type="presParOf" srcId="{7D1032CD-BA80-4124-A8B1-1788C2B8BB91}" destId="{E53700F3-9420-483A-9610-4537428ACA23}" srcOrd="13" destOrd="0" presId="urn:microsoft.com/office/officeart/2011/layout/CircleProcess"/>
    <dgm:cxn modelId="{1142609C-C9FA-4E8E-AFC8-A3F6CD2F9C65}" type="presParOf" srcId="{E53700F3-9420-483A-9610-4537428ACA23}" destId="{55DA5444-D7AB-42C5-8C2F-A6430B07BEDC}" srcOrd="0" destOrd="0" presId="urn:microsoft.com/office/officeart/2011/layout/CircleProcess"/>
    <dgm:cxn modelId="{DC0A20DA-1047-435B-A2F7-E03A0D4BE5BB}" type="presParOf" srcId="{7D1032CD-BA80-4124-A8B1-1788C2B8BB91}" destId="{CE3BF669-91A3-475C-AB5D-A16F11EB119D}" srcOrd="14" destOrd="0" presId="urn:microsoft.com/office/officeart/2011/layout/CircleProcess"/>
    <dgm:cxn modelId="{8C998E04-5EEE-4F25-86DA-78312487273E}" type="presParOf" srcId="{7D1032CD-BA80-4124-A8B1-1788C2B8BB91}" destId="{FCC15C81-5428-4D70-9BC4-E6014C32721A}" srcOrd="15" destOrd="0" presId="urn:microsoft.com/office/officeart/2011/layout/CircleProcess"/>
    <dgm:cxn modelId="{7D5D846E-A7CA-481E-B227-41E9D3B7FC81}" type="presParOf" srcId="{FCC15C81-5428-4D70-9BC4-E6014C32721A}" destId="{A94D1845-2377-4130-A0DC-D37BF483EC1B}" srcOrd="0" destOrd="0" presId="urn:microsoft.com/office/officeart/2011/layout/CircleProcess"/>
    <dgm:cxn modelId="{D25B96BB-EE19-466C-A4DE-DEE2504D10A0}" type="presParOf" srcId="{7D1032CD-BA80-4124-A8B1-1788C2B8BB91}" destId="{CB8A1145-4246-4BD5-B583-1173F29ECD12}" srcOrd="16" destOrd="0" presId="urn:microsoft.com/office/officeart/2011/layout/CircleProcess"/>
    <dgm:cxn modelId="{863AB6D6-6931-4ECE-8DFF-124B3B42A59D}" type="presParOf" srcId="{CB8A1145-4246-4BD5-B583-1173F29ECD12}" destId="{9EAB1166-AC45-478A-9154-FFDF4563CB5F}" srcOrd="0" destOrd="0" presId="urn:microsoft.com/office/officeart/2011/layout/CircleProcess"/>
    <dgm:cxn modelId="{4FD6414D-67DC-4DB2-A7D0-E7B7230C9C84}" type="presParOf" srcId="{7D1032CD-BA80-4124-A8B1-1788C2B8BB91}" destId="{F1159B85-6794-4CC3-A332-2240761AC3DC}" srcOrd="17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76E98D-681E-4BD8-A899-2E43786A6950}" type="doc">
      <dgm:prSet loTypeId="urn:microsoft.com/office/officeart/2005/8/layout/cycle5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9CA86F59-A475-4D86-8068-3DBE42C13C2E}">
      <dgm:prSet phldrT="[文本]" custT="1"/>
      <dgm:spPr/>
      <dgm:t>
        <a:bodyPr/>
        <a:lstStyle/>
        <a:p>
          <a:r>
            <a:rPr lang="zh-CN" altLang="en-US" sz="2400" dirty="0" smtClean="0"/>
            <a:t>京东用户</a:t>
          </a:r>
          <a:endParaRPr lang="zh-CN" altLang="en-US" sz="2400" dirty="0"/>
        </a:p>
      </dgm:t>
    </dgm:pt>
    <dgm:pt modelId="{801C6068-D735-45DF-8C75-7C2F76C5E6B3}" type="parTrans" cxnId="{0DC2A7A1-27E2-4C10-8A44-6A74E7A411DB}">
      <dgm:prSet/>
      <dgm:spPr/>
      <dgm:t>
        <a:bodyPr/>
        <a:lstStyle/>
        <a:p>
          <a:endParaRPr lang="zh-CN" altLang="en-US"/>
        </a:p>
      </dgm:t>
    </dgm:pt>
    <dgm:pt modelId="{DC235DE9-35B6-4CBB-AAA6-97C8BBE75990}" type="sibTrans" cxnId="{0DC2A7A1-27E2-4C10-8A44-6A74E7A411DB}">
      <dgm:prSet/>
      <dgm:spPr/>
      <dgm:t>
        <a:bodyPr/>
        <a:lstStyle/>
        <a:p>
          <a:endParaRPr lang="zh-CN" altLang="en-US"/>
        </a:p>
      </dgm:t>
    </dgm:pt>
    <dgm:pt modelId="{4B49090A-5BAD-43AD-9D38-E0765C6F7511}">
      <dgm:prSet phldrT="[文本]" custT="1"/>
      <dgm:spPr/>
      <dgm:t>
        <a:bodyPr/>
        <a:lstStyle/>
        <a:p>
          <a:pPr>
            <a:lnSpc>
              <a:spcPct val="90000"/>
            </a:lnSpc>
          </a:pPr>
          <a:r>
            <a:rPr lang="zh-CN" altLang="en-US" sz="2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硬件</a:t>
          </a:r>
          <a:endParaRPr lang="en-US" altLang="zh-CN" sz="20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ts val="1300"/>
            </a:lnSpc>
          </a:pPr>
          <a:r>
            <a:rPr lang="zh-CN" altLang="en-US" sz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家居，健康穿戴</a:t>
          </a:r>
          <a:endParaRPr lang="en-US" altLang="zh-CN" sz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ts val="1300"/>
            </a:lnSpc>
          </a:pPr>
          <a:r>
            <a:rPr lang="zh-CN" altLang="en-US" sz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车载</a:t>
          </a:r>
          <a:r>
            <a:rPr lang="en-US" altLang="zh-CN" sz="1200" dirty="0" smtClean="0">
              <a:ea typeface="微软雅黑"/>
            </a:rPr>
            <a:t>……</a:t>
          </a:r>
          <a:endParaRPr lang="zh-CN" altLang="en-US" sz="1200" dirty="0"/>
        </a:p>
      </dgm:t>
    </dgm:pt>
    <dgm:pt modelId="{950C97FD-2D2C-4658-9EFF-D2E08F0264B7}" type="parTrans" cxnId="{8905144D-B082-416E-89BF-0A6EB2B124BD}">
      <dgm:prSet/>
      <dgm:spPr/>
      <dgm:t>
        <a:bodyPr/>
        <a:lstStyle/>
        <a:p>
          <a:endParaRPr lang="zh-CN" altLang="en-US"/>
        </a:p>
      </dgm:t>
    </dgm:pt>
    <dgm:pt modelId="{A92A1E7E-BD88-4D94-B11A-077D7DDFC55F}" type="sibTrans" cxnId="{8905144D-B082-416E-89BF-0A6EB2B124BD}">
      <dgm:prSet/>
      <dgm:spPr/>
      <dgm:t>
        <a:bodyPr/>
        <a:lstStyle/>
        <a:p>
          <a:endParaRPr lang="zh-CN" altLang="en-US"/>
        </a:p>
      </dgm:t>
    </dgm:pt>
    <dgm:pt modelId="{902F05D1-5D02-4E4E-9916-FE9EACDABDBD}">
      <dgm:prSet phldrT="[文本]" custT="1"/>
      <dgm:spPr/>
      <dgm:t>
        <a:bodyPr/>
        <a:lstStyle/>
        <a:p>
          <a:pPr>
            <a:lnSpc>
              <a:spcPts val="1300"/>
            </a:lnSpc>
          </a:pPr>
          <a:r>
            <a:rPr lang="zh-CN" altLang="en-US" sz="2000" dirty="0" smtClean="0"/>
            <a:t>第三方</a:t>
          </a:r>
          <a:r>
            <a:rPr lang="en-US" altLang="zh-CN" sz="2000" dirty="0" smtClean="0"/>
            <a:t>JOS</a:t>
          </a:r>
          <a:r>
            <a:rPr lang="zh-CN" altLang="en-US" sz="2000" dirty="0" smtClean="0"/>
            <a:t>应用</a:t>
          </a:r>
          <a:endParaRPr lang="en-US" altLang="zh-CN" sz="2000" dirty="0" smtClean="0"/>
        </a:p>
        <a:p>
          <a:pPr>
            <a:lnSpc>
              <a:spcPts val="1300"/>
            </a:lnSpc>
          </a:pPr>
          <a:r>
            <a:rPr lang="zh-CN" altLang="en-US" sz="1050" dirty="0" smtClean="0">
              <a:ea typeface="微软雅黑"/>
            </a:rPr>
            <a:t>（增值服务、</a:t>
          </a:r>
          <a:r>
            <a:rPr lang="zh-CN" altLang="zh-CN" sz="1050" dirty="0" smtClean="0">
              <a:latin typeface="微软雅黑" pitchFamily="34"/>
              <a:ea typeface="微软雅黑" pitchFamily="34"/>
            </a:rPr>
            <a:t>行业方案</a:t>
          </a:r>
          <a:r>
            <a:rPr lang="en-US" altLang="zh-CN" sz="1050" dirty="0" smtClean="0">
              <a:latin typeface="微软雅黑" pitchFamily="34"/>
              <a:ea typeface="微软雅黑" pitchFamily="34"/>
            </a:rPr>
            <a:t>/APP</a:t>
          </a:r>
          <a:r>
            <a:rPr lang="zh-CN" altLang="en-US" sz="1050" dirty="0" smtClean="0"/>
            <a:t>）</a:t>
          </a:r>
          <a:endParaRPr lang="en-US" altLang="zh-CN" sz="1050" dirty="0" smtClean="0"/>
        </a:p>
        <a:p>
          <a:pPr>
            <a:lnSpc>
              <a:spcPts val="1300"/>
            </a:lnSpc>
          </a:pPr>
          <a:endParaRPr lang="en-US" altLang="zh-CN" sz="2000" dirty="0" smtClean="0"/>
        </a:p>
        <a:p>
          <a:pPr>
            <a:lnSpc>
              <a:spcPts val="1300"/>
            </a:lnSpc>
          </a:pPr>
          <a:r>
            <a:rPr lang="zh-CN" altLang="en-US" sz="2000" dirty="0" smtClean="0"/>
            <a:t>京东应用</a:t>
          </a:r>
          <a:endParaRPr lang="zh-CN" altLang="en-US" sz="2000" dirty="0"/>
        </a:p>
      </dgm:t>
    </dgm:pt>
    <dgm:pt modelId="{15657EA9-E5B9-4615-9CCF-9962D97C8EB2}" type="parTrans" cxnId="{E683DDC2-5846-4E3B-ADAA-0FCB3F659D5D}">
      <dgm:prSet/>
      <dgm:spPr/>
      <dgm:t>
        <a:bodyPr/>
        <a:lstStyle/>
        <a:p>
          <a:endParaRPr lang="zh-CN" altLang="en-US"/>
        </a:p>
      </dgm:t>
    </dgm:pt>
    <dgm:pt modelId="{6314B759-42AE-4323-8956-0C51F8EC15B0}" type="sibTrans" cxnId="{E683DDC2-5846-4E3B-ADAA-0FCB3F659D5D}">
      <dgm:prSet/>
      <dgm:spPr/>
      <dgm:t>
        <a:bodyPr/>
        <a:lstStyle/>
        <a:p>
          <a:endParaRPr lang="zh-CN" altLang="en-US"/>
        </a:p>
      </dgm:t>
    </dgm:pt>
    <dgm:pt modelId="{9A5390B3-9DE4-4307-8B4D-1FCCD19DA2D3}">
      <dgm:prSet phldrT="[文本]" custT="1"/>
      <dgm:spPr/>
      <dgm:t>
        <a:bodyPr/>
        <a:lstStyle/>
        <a:p>
          <a:endParaRPr lang="zh-CN" altLang="en-US" sz="2000" dirty="0"/>
        </a:p>
      </dgm:t>
    </dgm:pt>
    <dgm:pt modelId="{BC594399-031D-45EA-A1A3-2B7EDD759E52}" type="parTrans" cxnId="{2C60DEF7-E635-4451-9C1A-C9C73F481B90}">
      <dgm:prSet/>
      <dgm:spPr/>
      <dgm:t>
        <a:bodyPr/>
        <a:lstStyle/>
        <a:p>
          <a:endParaRPr lang="zh-CN" altLang="en-US"/>
        </a:p>
      </dgm:t>
    </dgm:pt>
    <dgm:pt modelId="{2812667B-DDBF-44BD-A2B2-CF6E2F2397D7}" type="sibTrans" cxnId="{2C60DEF7-E635-4451-9C1A-C9C73F481B90}">
      <dgm:prSet/>
      <dgm:spPr/>
      <dgm:t>
        <a:bodyPr/>
        <a:lstStyle/>
        <a:p>
          <a:endParaRPr lang="zh-CN" altLang="en-US"/>
        </a:p>
      </dgm:t>
    </dgm:pt>
    <dgm:pt modelId="{595AE221-7875-4E0E-8878-B5BF0D5D98F4}" type="pres">
      <dgm:prSet presAssocID="{5776E98D-681E-4BD8-A899-2E43786A6950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5ABE654-E5CC-4958-BCFF-FD111690A665}" type="pres">
      <dgm:prSet presAssocID="{9CA86F59-A475-4D86-8068-3DBE42C13C2E}" presName="node" presStyleLbl="node1" presStyleIdx="0" presStyleCnt="4" custRadScaleRad="100049" custRadScaleInc="-598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22DC92D-C988-453C-B5C7-8AD0577E29E3}" type="pres">
      <dgm:prSet presAssocID="{9CA86F59-A475-4D86-8068-3DBE42C13C2E}" presName="spNode" presStyleCnt="0"/>
      <dgm:spPr/>
    </dgm:pt>
    <dgm:pt modelId="{2FC56827-FD6F-48A0-B51E-9FE59FC5DFB2}" type="pres">
      <dgm:prSet presAssocID="{DC235DE9-35B6-4CBB-AAA6-97C8BBE75990}" presName="sibTrans" presStyleLbl="sibTrans1D1" presStyleIdx="0" presStyleCnt="4"/>
      <dgm:spPr/>
      <dgm:t>
        <a:bodyPr/>
        <a:lstStyle/>
        <a:p>
          <a:endParaRPr lang="zh-CN" altLang="en-US"/>
        </a:p>
      </dgm:t>
    </dgm:pt>
    <dgm:pt modelId="{9F1832AF-972D-4495-9088-98C77B8834D5}" type="pres">
      <dgm:prSet presAssocID="{902F05D1-5D02-4E4E-9916-FE9EACDABDBD}" presName="node" presStyleLbl="node1" presStyleIdx="1" presStyleCnt="4" custScaleX="112552" custScaleY="122110" custRadScaleRad="99832" custRadScaleInc="-4276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FE3C282-7792-41CE-AA09-71AB76386C27}" type="pres">
      <dgm:prSet presAssocID="{902F05D1-5D02-4E4E-9916-FE9EACDABDBD}" presName="spNode" presStyleCnt="0"/>
      <dgm:spPr/>
    </dgm:pt>
    <dgm:pt modelId="{A774B7FE-EB5B-41C1-87F2-E431AB309E24}" type="pres">
      <dgm:prSet presAssocID="{6314B759-42AE-4323-8956-0C51F8EC15B0}" presName="sibTrans" presStyleLbl="sibTrans1D1" presStyleIdx="1" presStyleCnt="4"/>
      <dgm:spPr/>
      <dgm:t>
        <a:bodyPr/>
        <a:lstStyle/>
        <a:p>
          <a:endParaRPr lang="zh-CN" altLang="en-US"/>
        </a:p>
      </dgm:t>
    </dgm:pt>
    <dgm:pt modelId="{C841B54E-A197-4B8A-8117-1C7A14AEAED8}" type="pres">
      <dgm:prSet presAssocID="{9A5390B3-9DE4-4307-8B4D-1FCCD19DA2D3}" presName="node" presStyleLbl="node1" presStyleIdx="2" presStyleCnt="4" custScaleX="36560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1ACA080-B19C-46B5-BD1F-67BE0314DB4D}" type="pres">
      <dgm:prSet presAssocID="{9A5390B3-9DE4-4307-8B4D-1FCCD19DA2D3}" presName="spNode" presStyleCnt="0"/>
      <dgm:spPr/>
    </dgm:pt>
    <dgm:pt modelId="{8BD773E2-CBC8-4A1A-A72A-7BBDA83C25FA}" type="pres">
      <dgm:prSet presAssocID="{2812667B-DDBF-44BD-A2B2-CF6E2F2397D7}" presName="sibTrans" presStyleLbl="sibTrans1D1" presStyleIdx="2" presStyleCnt="4"/>
      <dgm:spPr/>
      <dgm:t>
        <a:bodyPr/>
        <a:lstStyle/>
        <a:p>
          <a:endParaRPr lang="zh-CN" altLang="en-US"/>
        </a:p>
      </dgm:t>
    </dgm:pt>
    <dgm:pt modelId="{29379221-0C86-4B18-BA1D-0041EBA6EEC9}" type="pres">
      <dgm:prSet presAssocID="{4B49090A-5BAD-43AD-9D38-E0765C6F7511}" presName="node" presStyleLbl="node1" presStyleIdx="3" presStyleCnt="4" custScaleX="109862" custScaleY="122769" custRadScaleRad="103835" custRadScaleInc="4071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1BCDBC7-F0AC-4B3F-B3C7-7F94FCF91CE5}" type="pres">
      <dgm:prSet presAssocID="{4B49090A-5BAD-43AD-9D38-E0765C6F7511}" presName="spNode" presStyleCnt="0"/>
      <dgm:spPr/>
    </dgm:pt>
    <dgm:pt modelId="{2A9A4914-E73F-4A93-892C-4E820444E5F1}" type="pres">
      <dgm:prSet presAssocID="{A92A1E7E-BD88-4D94-B11A-077D7DDFC55F}" presName="sibTrans" presStyleLbl="sibTrans1D1" presStyleIdx="3" presStyleCnt="4"/>
      <dgm:spPr/>
      <dgm:t>
        <a:bodyPr/>
        <a:lstStyle/>
        <a:p>
          <a:endParaRPr lang="zh-CN" altLang="en-US"/>
        </a:p>
      </dgm:t>
    </dgm:pt>
  </dgm:ptLst>
  <dgm:cxnLst>
    <dgm:cxn modelId="{F2F91EBD-E20A-456B-A38B-046B9164C1EC}" type="presOf" srcId="{5776E98D-681E-4BD8-A899-2E43786A6950}" destId="{595AE221-7875-4E0E-8878-B5BF0D5D98F4}" srcOrd="0" destOrd="0" presId="urn:microsoft.com/office/officeart/2005/8/layout/cycle5"/>
    <dgm:cxn modelId="{2C60DEF7-E635-4451-9C1A-C9C73F481B90}" srcId="{5776E98D-681E-4BD8-A899-2E43786A6950}" destId="{9A5390B3-9DE4-4307-8B4D-1FCCD19DA2D3}" srcOrd="2" destOrd="0" parTransId="{BC594399-031D-45EA-A1A3-2B7EDD759E52}" sibTransId="{2812667B-DDBF-44BD-A2B2-CF6E2F2397D7}"/>
    <dgm:cxn modelId="{14FAC8E2-37F7-4DC0-8DA4-65271492EA88}" type="presOf" srcId="{9CA86F59-A475-4D86-8068-3DBE42C13C2E}" destId="{55ABE654-E5CC-4958-BCFF-FD111690A665}" srcOrd="0" destOrd="0" presId="urn:microsoft.com/office/officeart/2005/8/layout/cycle5"/>
    <dgm:cxn modelId="{0DC2A7A1-27E2-4C10-8A44-6A74E7A411DB}" srcId="{5776E98D-681E-4BD8-A899-2E43786A6950}" destId="{9CA86F59-A475-4D86-8068-3DBE42C13C2E}" srcOrd="0" destOrd="0" parTransId="{801C6068-D735-45DF-8C75-7C2F76C5E6B3}" sibTransId="{DC235DE9-35B6-4CBB-AAA6-97C8BBE75990}"/>
    <dgm:cxn modelId="{E683DDC2-5846-4E3B-ADAA-0FCB3F659D5D}" srcId="{5776E98D-681E-4BD8-A899-2E43786A6950}" destId="{902F05D1-5D02-4E4E-9916-FE9EACDABDBD}" srcOrd="1" destOrd="0" parTransId="{15657EA9-E5B9-4615-9CCF-9962D97C8EB2}" sibTransId="{6314B759-42AE-4323-8956-0C51F8EC15B0}"/>
    <dgm:cxn modelId="{1F76599A-6691-4BFB-983F-2BCBE1E9EACF}" type="presOf" srcId="{6314B759-42AE-4323-8956-0C51F8EC15B0}" destId="{A774B7FE-EB5B-41C1-87F2-E431AB309E24}" srcOrd="0" destOrd="0" presId="urn:microsoft.com/office/officeart/2005/8/layout/cycle5"/>
    <dgm:cxn modelId="{2345A76C-C7EF-4C96-9254-B568B5668761}" type="presOf" srcId="{902F05D1-5D02-4E4E-9916-FE9EACDABDBD}" destId="{9F1832AF-972D-4495-9088-98C77B8834D5}" srcOrd="0" destOrd="0" presId="urn:microsoft.com/office/officeart/2005/8/layout/cycle5"/>
    <dgm:cxn modelId="{718BA971-3526-44F9-8A93-85E01ABE7BFD}" type="presOf" srcId="{9A5390B3-9DE4-4307-8B4D-1FCCD19DA2D3}" destId="{C841B54E-A197-4B8A-8117-1C7A14AEAED8}" srcOrd="0" destOrd="0" presId="urn:microsoft.com/office/officeart/2005/8/layout/cycle5"/>
    <dgm:cxn modelId="{02C79BD1-E7D3-4ED2-A8A5-12C9BBF42145}" type="presOf" srcId="{4B49090A-5BAD-43AD-9D38-E0765C6F7511}" destId="{29379221-0C86-4B18-BA1D-0041EBA6EEC9}" srcOrd="0" destOrd="0" presId="urn:microsoft.com/office/officeart/2005/8/layout/cycle5"/>
    <dgm:cxn modelId="{8905144D-B082-416E-89BF-0A6EB2B124BD}" srcId="{5776E98D-681E-4BD8-A899-2E43786A6950}" destId="{4B49090A-5BAD-43AD-9D38-E0765C6F7511}" srcOrd="3" destOrd="0" parTransId="{950C97FD-2D2C-4658-9EFF-D2E08F0264B7}" sibTransId="{A92A1E7E-BD88-4D94-B11A-077D7DDFC55F}"/>
    <dgm:cxn modelId="{D5206A94-9D66-401B-B173-EADA3E0F621B}" type="presOf" srcId="{DC235DE9-35B6-4CBB-AAA6-97C8BBE75990}" destId="{2FC56827-FD6F-48A0-B51E-9FE59FC5DFB2}" srcOrd="0" destOrd="0" presId="urn:microsoft.com/office/officeart/2005/8/layout/cycle5"/>
    <dgm:cxn modelId="{831F5A19-207B-47AF-9902-4A649736E299}" type="presOf" srcId="{2812667B-DDBF-44BD-A2B2-CF6E2F2397D7}" destId="{8BD773E2-CBC8-4A1A-A72A-7BBDA83C25FA}" srcOrd="0" destOrd="0" presId="urn:microsoft.com/office/officeart/2005/8/layout/cycle5"/>
    <dgm:cxn modelId="{E9DBAEAD-C200-4E71-AFAC-EB50E1BE6774}" type="presOf" srcId="{A92A1E7E-BD88-4D94-B11A-077D7DDFC55F}" destId="{2A9A4914-E73F-4A93-892C-4E820444E5F1}" srcOrd="0" destOrd="0" presId="urn:microsoft.com/office/officeart/2005/8/layout/cycle5"/>
    <dgm:cxn modelId="{5BF0F229-4EB6-4358-8D69-C0829E29A04E}" type="presParOf" srcId="{595AE221-7875-4E0E-8878-B5BF0D5D98F4}" destId="{55ABE654-E5CC-4958-BCFF-FD111690A665}" srcOrd="0" destOrd="0" presId="urn:microsoft.com/office/officeart/2005/8/layout/cycle5"/>
    <dgm:cxn modelId="{A063A188-F7E9-4E54-9EC8-3762C843F341}" type="presParOf" srcId="{595AE221-7875-4E0E-8878-B5BF0D5D98F4}" destId="{422DC92D-C988-453C-B5C7-8AD0577E29E3}" srcOrd="1" destOrd="0" presId="urn:microsoft.com/office/officeart/2005/8/layout/cycle5"/>
    <dgm:cxn modelId="{F9A87390-7DF2-4F1B-AD91-EFD4D3F1F7BE}" type="presParOf" srcId="{595AE221-7875-4E0E-8878-B5BF0D5D98F4}" destId="{2FC56827-FD6F-48A0-B51E-9FE59FC5DFB2}" srcOrd="2" destOrd="0" presId="urn:microsoft.com/office/officeart/2005/8/layout/cycle5"/>
    <dgm:cxn modelId="{DB11CA84-53BE-4C3A-9057-14AE84EE739F}" type="presParOf" srcId="{595AE221-7875-4E0E-8878-B5BF0D5D98F4}" destId="{9F1832AF-972D-4495-9088-98C77B8834D5}" srcOrd="3" destOrd="0" presId="urn:microsoft.com/office/officeart/2005/8/layout/cycle5"/>
    <dgm:cxn modelId="{575CADE4-4EBE-4C3D-9328-FF1672C39AA6}" type="presParOf" srcId="{595AE221-7875-4E0E-8878-B5BF0D5D98F4}" destId="{AFE3C282-7792-41CE-AA09-71AB76386C27}" srcOrd="4" destOrd="0" presId="urn:microsoft.com/office/officeart/2005/8/layout/cycle5"/>
    <dgm:cxn modelId="{88F07844-4B92-4DE2-BE5C-FC3D5C695BD4}" type="presParOf" srcId="{595AE221-7875-4E0E-8878-B5BF0D5D98F4}" destId="{A774B7FE-EB5B-41C1-87F2-E431AB309E24}" srcOrd="5" destOrd="0" presId="urn:microsoft.com/office/officeart/2005/8/layout/cycle5"/>
    <dgm:cxn modelId="{6C0C1188-F442-48E5-A200-73021C519F5A}" type="presParOf" srcId="{595AE221-7875-4E0E-8878-B5BF0D5D98F4}" destId="{C841B54E-A197-4B8A-8117-1C7A14AEAED8}" srcOrd="6" destOrd="0" presId="urn:microsoft.com/office/officeart/2005/8/layout/cycle5"/>
    <dgm:cxn modelId="{13854B2B-FB2C-4D40-8E1B-4E1E33E36D9E}" type="presParOf" srcId="{595AE221-7875-4E0E-8878-B5BF0D5D98F4}" destId="{41ACA080-B19C-46B5-BD1F-67BE0314DB4D}" srcOrd="7" destOrd="0" presId="urn:microsoft.com/office/officeart/2005/8/layout/cycle5"/>
    <dgm:cxn modelId="{1F56C2EF-2D39-42C3-9412-713D64503192}" type="presParOf" srcId="{595AE221-7875-4E0E-8878-B5BF0D5D98F4}" destId="{8BD773E2-CBC8-4A1A-A72A-7BBDA83C25FA}" srcOrd="8" destOrd="0" presId="urn:microsoft.com/office/officeart/2005/8/layout/cycle5"/>
    <dgm:cxn modelId="{343A0B51-79D1-49A6-A4C8-4AC4F06C2239}" type="presParOf" srcId="{595AE221-7875-4E0E-8878-B5BF0D5D98F4}" destId="{29379221-0C86-4B18-BA1D-0041EBA6EEC9}" srcOrd="9" destOrd="0" presId="urn:microsoft.com/office/officeart/2005/8/layout/cycle5"/>
    <dgm:cxn modelId="{AFCDACE9-F3D5-4FE0-9037-14EAAFB5D93B}" type="presParOf" srcId="{595AE221-7875-4E0E-8878-B5BF0D5D98F4}" destId="{A1BCDBC7-F0AC-4B3F-B3C7-7F94FCF91CE5}" srcOrd="10" destOrd="0" presId="urn:microsoft.com/office/officeart/2005/8/layout/cycle5"/>
    <dgm:cxn modelId="{02FCB520-4D26-421B-8902-67E5474C1AAB}" type="presParOf" srcId="{595AE221-7875-4E0E-8878-B5BF0D5D98F4}" destId="{2A9A4914-E73F-4A93-892C-4E820444E5F1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3B52D39-C61A-4894-A957-9E87F42CED54}" type="doc">
      <dgm:prSet loTypeId="urn:microsoft.com/office/officeart/2011/layout/InterconnectedBlockProcess" loCatId="process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zh-CN" altLang="en-US"/>
        </a:p>
      </dgm:t>
    </dgm:pt>
    <dgm:pt modelId="{361C647C-2C6C-4189-B1CC-CD149112DF1F}">
      <dgm:prSet phldrT="[文本]" custT="1"/>
      <dgm:spPr/>
      <dgm:t>
        <a:bodyPr/>
        <a:lstStyle/>
        <a:p>
          <a:r>
            <a:rPr lang="zh-CN" altLang="en-US" sz="14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云主机</a:t>
          </a:r>
          <a:endParaRPr lang="zh-CN" altLang="en-US" sz="14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F48F352-9128-409F-8672-F8D8A9DD95A9}" type="parTrans" cxnId="{A4B2D1A0-8640-419E-AE81-DD7E7C996F96}">
      <dgm:prSet/>
      <dgm:spPr/>
      <dgm:t>
        <a:bodyPr/>
        <a:lstStyle/>
        <a:p>
          <a:endParaRPr lang="zh-CN" altLang="en-US"/>
        </a:p>
      </dgm:t>
    </dgm:pt>
    <dgm:pt modelId="{18109CEF-5EA5-4605-A07E-0FFA0E346547}" type="sibTrans" cxnId="{A4B2D1A0-8640-419E-AE81-DD7E7C996F96}">
      <dgm:prSet/>
      <dgm:spPr/>
      <dgm:t>
        <a:bodyPr/>
        <a:lstStyle/>
        <a:p>
          <a:endParaRPr lang="zh-CN" altLang="en-US"/>
        </a:p>
      </dgm:t>
    </dgm:pt>
    <dgm:pt modelId="{503265CC-A77A-4836-A6D8-1DBD1C4104C1}">
      <dgm:prSet phldrT="[文本]" custT="1"/>
      <dgm:spPr/>
      <dgm:t>
        <a:bodyPr/>
        <a:lstStyle/>
        <a:p>
          <a:pPr algn="l"/>
          <a:r>
            <a: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</a:t>
          </a:r>
          <a:endParaRPr lang="en-US" altLang="zh-CN" sz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algn="l"/>
          <a:r>
            <a:rPr lang="en-US" altLang="zh-CN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</a:t>
          </a:r>
          <a:r>
            <a: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弹性扩展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EF1727F-DE4A-4DF2-A287-EB097A6232D3}" type="parTrans" cxnId="{E1C914FF-E256-4301-9462-A42F4F6FF4A2}">
      <dgm:prSet/>
      <dgm:spPr/>
      <dgm:t>
        <a:bodyPr/>
        <a:lstStyle/>
        <a:p>
          <a:endParaRPr lang="zh-CN" altLang="en-US"/>
        </a:p>
      </dgm:t>
    </dgm:pt>
    <dgm:pt modelId="{10FBB7E9-6553-4EEF-827E-272AF2213CEB}" type="sibTrans" cxnId="{E1C914FF-E256-4301-9462-A42F4F6FF4A2}">
      <dgm:prSet/>
      <dgm:spPr/>
      <dgm:t>
        <a:bodyPr/>
        <a:lstStyle/>
        <a:p>
          <a:endParaRPr lang="zh-CN" altLang="en-US"/>
        </a:p>
      </dgm:t>
    </dgm:pt>
    <dgm:pt modelId="{D9787C88-0B63-4E2F-8296-A18155786693}">
      <dgm:prSet phldrT="[文本]" custT="1"/>
      <dgm:spPr/>
      <dgm:t>
        <a:bodyPr/>
        <a:lstStyle/>
        <a:p>
          <a:r>
            <a:rPr lang="zh-CN" altLang="en-US" sz="14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云存储</a:t>
          </a:r>
          <a:endParaRPr lang="zh-CN" altLang="en-US" sz="14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B3B8491-DD1C-4914-B8BB-92E887532F53}" type="parTrans" cxnId="{7F243156-C4ED-4386-8BC9-99BB4CBA3456}">
      <dgm:prSet/>
      <dgm:spPr/>
      <dgm:t>
        <a:bodyPr/>
        <a:lstStyle/>
        <a:p>
          <a:endParaRPr lang="zh-CN" altLang="en-US"/>
        </a:p>
      </dgm:t>
    </dgm:pt>
    <dgm:pt modelId="{22FD0D27-7AB4-4821-971A-141B9DEF7EC2}" type="sibTrans" cxnId="{7F243156-C4ED-4386-8BC9-99BB4CBA3456}">
      <dgm:prSet/>
      <dgm:spPr/>
      <dgm:t>
        <a:bodyPr/>
        <a:lstStyle/>
        <a:p>
          <a:endParaRPr lang="zh-CN" altLang="en-US"/>
        </a:p>
      </dgm:t>
    </dgm:pt>
    <dgm:pt modelId="{C8FF77FF-56CF-4F2F-AA21-F4227764CDA0}">
      <dgm:prSet phldrT="[文本]" custT="1"/>
      <dgm:spPr/>
      <dgm:t>
        <a:bodyPr/>
        <a:lstStyle/>
        <a:p>
          <a:pPr algn="l"/>
          <a:endParaRPr lang="en-US" altLang="zh-CN" sz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algn="l"/>
          <a:r>
            <a:rPr lang="en-US" altLang="zh-CN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</a:t>
          </a:r>
          <a:r>
            <a: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海量数据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23AA61C-CA1F-4F8B-938F-5FF582CAE7D6}" type="parTrans" cxnId="{5BFAC7D7-A9ED-4511-9EAD-67D5DF34A6A7}">
      <dgm:prSet/>
      <dgm:spPr/>
      <dgm:t>
        <a:bodyPr/>
        <a:lstStyle/>
        <a:p>
          <a:endParaRPr lang="zh-CN" altLang="en-US"/>
        </a:p>
      </dgm:t>
    </dgm:pt>
    <dgm:pt modelId="{7614F517-E283-4973-9466-0BEE35E8DE93}" type="sibTrans" cxnId="{5BFAC7D7-A9ED-4511-9EAD-67D5DF34A6A7}">
      <dgm:prSet/>
      <dgm:spPr/>
      <dgm:t>
        <a:bodyPr/>
        <a:lstStyle/>
        <a:p>
          <a:endParaRPr lang="zh-CN" altLang="en-US"/>
        </a:p>
      </dgm:t>
    </dgm:pt>
    <dgm:pt modelId="{36C45171-1818-4D8C-862C-62E3640C3F1E}">
      <dgm:prSet phldrT="[文本]" custT="1"/>
      <dgm:spPr/>
      <dgm:t>
        <a:bodyPr/>
        <a:lstStyle/>
        <a:p>
          <a:r>
            <a:rPr lang="zh-CN" altLang="en-US" sz="14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应用引擎</a:t>
          </a:r>
          <a:endParaRPr lang="zh-CN" altLang="en-US" sz="14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7910DBC-8A34-4205-BECC-C7B2F71A96D5}" type="parTrans" cxnId="{5E904C6D-8790-4E13-A08B-A4331341C409}">
      <dgm:prSet/>
      <dgm:spPr/>
      <dgm:t>
        <a:bodyPr/>
        <a:lstStyle/>
        <a:p>
          <a:endParaRPr lang="zh-CN" altLang="en-US"/>
        </a:p>
      </dgm:t>
    </dgm:pt>
    <dgm:pt modelId="{51BF0D4F-E556-4733-A0B1-E30379221BF2}" type="sibTrans" cxnId="{5E904C6D-8790-4E13-A08B-A4331341C409}">
      <dgm:prSet/>
      <dgm:spPr/>
      <dgm:t>
        <a:bodyPr/>
        <a:lstStyle/>
        <a:p>
          <a:endParaRPr lang="zh-CN" altLang="en-US"/>
        </a:p>
      </dgm:t>
    </dgm:pt>
    <dgm:pt modelId="{C0F690CF-D1A9-43AC-ADA5-323614DF87F1}">
      <dgm:prSet phldrT="[文本]" custT="1"/>
      <dgm:spPr/>
      <dgm:t>
        <a:bodyPr/>
        <a:lstStyle/>
        <a:p>
          <a:pPr algn="l"/>
          <a:endParaRPr lang="en-US" altLang="zh-CN" sz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algn="l"/>
          <a:r>
            <a: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多语言支持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ECC94E3-5CD4-4EF9-B284-AC0BC9BB65B1}" type="parTrans" cxnId="{7CD06FC3-E55F-4F3C-BCAB-799E3918AB91}">
      <dgm:prSet/>
      <dgm:spPr/>
      <dgm:t>
        <a:bodyPr/>
        <a:lstStyle/>
        <a:p>
          <a:endParaRPr lang="zh-CN" altLang="en-US"/>
        </a:p>
      </dgm:t>
    </dgm:pt>
    <dgm:pt modelId="{F7EAAE9B-5FBE-423F-A963-C3036C4F95CF}" type="sibTrans" cxnId="{7CD06FC3-E55F-4F3C-BCAB-799E3918AB91}">
      <dgm:prSet/>
      <dgm:spPr/>
      <dgm:t>
        <a:bodyPr/>
        <a:lstStyle/>
        <a:p>
          <a:endParaRPr lang="zh-CN" altLang="en-US"/>
        </a:p>
      </dgm:t>
    </dgm:pt>
    <dgm:pt modelId="{09D2DAE8-135A-4749-89E2-1FC54BBB52AE}">
      <dgm:prSet custT="1"/>
      <dgm:spPr/>
      <dgm:t>
        <a:bodyPr/>
        <a:lstStyle/>
        <a:p>
          <a:pPr algn="l"/>
          <a:r>
            <a: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轻松部署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39E96C7-A478-4865-9284-012502915A2C}" type="parTrans" cxnId="{056377C0-3883-4A4E-B032-6AADFF4C210B}">
      <dgm:prSet/>
      <dgm:spPr/>
      <dgm:t>
        <a:bodyPr/>
        <a:lstStyle/>
        <a:p>
          <a:endParaRPr lang="zh-CN" altLang="en-US"/>
        </a:p>
      </dgm:t>
    </dgm:pt>
    <dgm:pt modelId="{DA53DA0A-12E5-47D2-90FD-6D03E563A266}" type="sibTrans" cxnId="{056377C0-3883-4A4E-B032-6AADFF4C210B}">
      <dgm:prSet/>
      <dgm:spPr/>
      <dgm:t>
        <a:bodyPr/>
        <a:lstStyle/>
        <a:p>
          <a:endParaRPr lang="zh-CN" altLang="en-US"/>
        </a:p>
      </dgm:t>
    </dgm:pt>
    <dgm:pt modelId="{8DF4D326-0E35-4C21-A631-3214B85031E1}">
      <dgm:prSet custT="1"/>
      <dgm:spPr/>
      <dgm:t>
        <a:bodyPr/>
        <a:lstStyle/>
        <a:p>
          <a:pPr algn="l"/>
          <a:r>
            <a:rPr lang="zh-CN" altLang="en-US" sz="120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安全可靠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C035D13-B342-48CA-B946-DB60ADAB0166}" type="parTrans" cxnId="{ACAA299E-04DE-4C80-A25B-D1C9474200D8}">
      <dgm:prSet/>
      <dgm:spPr/>
      <dgm:t>
        <a:bodyPr/>
        <a:lstStyle/>
        <a:p>
          <a:endParaRPr lang="zh-CN" altLang="en-US"/>
        </a:p>
      </dgm:t>
    </dgm:pt>
    <dgm:pt modelId="{9CD09AE9-24A5-4FBD-87B2-3D73226417C5}" type="sibTrans" cxnId="{ACAA299E-04DE-4C80-A25B-D1C9474200D8}">
      <dgm:prSet/>
      <dgm:spPr/>
      <dgm:t>
        <a:bodyPr/>
        <a:lstStyle/>
        <a:p>
          <a:endParaRPr lang="zh-CN" altLang="en-US"/>
        </a:p>
      </dgm:t>
    </dgm:pt>
    <dgm:pt modelId="{82111918-F5DB-4E2A-9357-030737833621}">
      <dgm:prSet custT="1"/>
      <dgm:spPr/>
      <dgm:t>
        <a:bodyPr/>
        <a:lstStyle/>
        <a:p>
          <a:pPr algn="r"/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1122D93-9A7C-4376-9664-E6670F012D57}" type="parTrans" cxnId="{EB410542-8A05-40CA-B96F-B7CA3B1D02D9}">
      <dgm:prSet/>
      <dgm:spPr/>
      <dgm:t>
        <a:bodyPr/>
        <a:lstStyle/>
        <a:p>
          <a:endParaRPr lang="zh-CN" altLang="en-US"/>
        </a:p>
      </dgm:t>
    </dgm:pt>
    <dgm:pt modelId="{D7467AEC-DEAE-4A97-BDC5-B59BF54AC6AC}" type="sibTrans" cxnId="{EB410542-8A05-40CA-B96F-B7CA3B1D02D9}">
      <dgm:prSet/>
      <dgm:spPr/>
      <dgm:t>
        <a:bodyPr/>
        <a:lstStyle/>
        <a:p>
          <a:endParaRPr lang="zh-CN" altLang="en-US"/>
        </a:p>
      </dgm:t>
    </dgm:pt>
    <dgm:pt modelId="{B650B37C-962E-4F46-A43E-C616CF38E204}">
      <dgm:prSet custT="1"/>
      <dgm:spPr/>
      <dgm:t>
        <a:bodyPr/>
        <a:lstStyle/>
        <a:p>
          <a:pPr algn="l"/>
          <a:r>
            <a:rPr lang="zh-CN" altLang="en-US" sz="120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低成本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74CCC59-7E84-4AFA-B8E4-64D3C279A62D}" type="parTrans" cxnId="{35E9F5ED-CA48-4E0E-A812-7AF210584443}">
      <dgm:prSet/>
      <dgm:spPr/>
      <dgm:t>
        <a:bodyPr/>
        <a:lstStyle/>
        <a:p>
          <a:endParaRPr lang="zh-CN" altLang="en-US"/>
        </a:p>
      </dgm:t>
    </dgm:pt>
    <dgm:pt modelId="{D81A72E5-2248-4C70-9FE4-CB90DE960B6E}" type="sibTrans" cxnId="{35E9F5ED-CA48-4E0E-A812-7AF210584443}">
      <dgm:prSet/>
      <dgm:spPr/>
      <dgm:t>
        <a:bodyPr/>
        <a:lstStyle/>
        <a:p>
          <a:endParaRPr lang="zh-CN" altLang="en-US"/>
        </a:p>
      </dgm:t>
    </dgm:pt>
    <dgm:pt modelId="{DA3E0AF8-36AC-473C-97F5-D96D5BAF6230}">
      <dgm:prSet custT="1"/>
      <dgm:spPr/>
      <dgm:t>
        <a:bodyPr/>
        <a:lstStyle/>
        <a:p>
          <a:pPr algn="l"/>
          <a:r>
            <a:rPr lang="zh-CN" altLang="en-US" sz="120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高可用性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4770019-08ED-490D-9DEE-2C43DD5D61B2}" type="parTrans" cxnId="{D2CA33C9-54C0-4F04-9B72-BB9F2B509E55}">
      <dgm:prSet/>
      <dgm:spPr/>
      <dgm:t>
        <a:bodyPr/>
        <a:lstStyle/>
        <a:p>
          <a:endParaRPr lang="zh-CN" altLang="en-US"/>
        </a:p>
      </dgm:t>
    </dgm:pt>
    <dgm:pt modelId="{F993356C-111E-4A39-B5A0-DA0ECB840452}" type="sibTrans" cxnId="{D2CA33C9-54C0-4F04-9B72-BB9F2B509E55}">
      <dgm:prSet/>
      <dgm:spPr/>
      <dgm:t>
        <a:bodyPr/>
        <a:lstStyle/>
        <a:p>
          <a:endParaRPr lang="zh-CN" altLang="en-US"/>
        </a:p>
      </dgm:t>
    </dgm:pt>
    <dgm:pt modelId="{1598EDB7-E9FE-4D21-A2A4-947D23AB0D42}">
      <dgm:prSet custT="1"/>
      <dgm:spPr/>
      <dgm:t>
        <a:bodyPr/>
        <a:lstStyle/>
        <a:p>
          <a:pPr algn="r"/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1978FB3-B086-4B91-A5BA-2631902E92C7}" type="parTrans" cxnId="{643391CC-0D48-4FE2-A9C1-60C032142764}">
      <dgm:prSet/>
      <dgm:spPr/>
      <dgm:t>
        <a:bodyPr/>
        <a:lstStyle/>
        <a:p>
          <a:endParaRPr lang="zh-CN" altLang="en-US"/>
        </a:p>
      </dgm:t>
    </dgm:pt>
    <dgm:pt modelId="{9DC89FC9-4227-4D26-A8FF-A2AEE39B4072}" type="sibTrans" cxnId="{643391CC-0D48-4FE2-A9C1-60C032142764}">
      <dgm:prSet/>
      <dgm:spPr/>
      <dgm:t>
        <a:bodyPr/>
        <a:lstStyle/>
        <a:p>
          <a:endParaRPr lang="zh-CN" altLang="en-US"/>
        </a:p>
      </dgm:t>
    </dgm:pt>
    <dgm:pt modelId="{A3579C17-6764-46A8-B75C-15060BA8E518}">
      <dgm:prSet custT="1"/>
      <dgm:spPr/>
      <dgm:t>
        <a:bodyPr/>
        <a:lstStyle/>
        <a:p>
          <a:pPr algn="l"/>
          <a:r>
            <a:rPr lang="zh-CN" altLang="en-US" sz="120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弹性运行环境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6B9F33D-3AEA-47DC-AB46-BB1526DA9948}" type="parTrans" cxnId="{CF8D88A4-A049-4AF0-B110-B8EA6F5240AF}">
      <dgm:prSet/>
      <dgm:spPr/>
      <dgm:t>
        <a:bodyPr/>
        <a:lstStyle/>
        <a:p>
          <a:endParaRPr lang="zh-CN" altLang="en-US"/>
        </a:p>
      </dgm:t>
    </dgm:pt>
    <dgm:pt modelId="{1FE8ED60-B7C5-47E6-8999-E1FA97EA6ECA}" type="sibTrans" cxnId="{CF8D88A4-A049-4AF0-B110-B8EA6F5240AF}">
      <dgm:prSet/>
      <dgm:spPr/>
      <dgm:t>
        <a:bodyPr/>
        <a:lstStyle/>
        <a:p>
          <a:endParaRPr lang="zh-CN" altLang="en-US"/>
        </a:p>
      </dgm:t>
    </dgm:pt>
    <dgm:pt modelId="{307D2580-215C-4800-B2B6-30B25076CDE2}">
      <dgm:prSet custT="1"/>
      <dgm:spPr/>
      <dgm:t>
        <a:bodyPr/>
        <a:lstStyle/>
        <a:p>
          <a:pPr algn="l"/>
          <a:r>
            <a:rPr lang="zh-CN" altLang="en-US" sz="120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快速开发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276A32F-6F63-405E-9EDE-F8C236694810}" type="parTrans" cxnId="{410D533C-12CB-4C33-AD49-E74EB4A29347}">
      <dgm:prSet/>
      <dgm:spPr/>
      <dgm:t>
        <a:bodyPr/>
        <a:lstStyle/>
        <a:p>
          <a:endParaRPr lang="zh-CN" altLang="en-US"/>
        </a:p>
      </dgm:t>
    </dgm:pt>
    <dgm:pt modelId="{45AB909E-BC5F-42B6-ABB3-2485BDF90E44}" type="sibTrans" cxnId="{410D533C-12CB-4C33-AD49-E74EB4A29347}">
      <dgm:prSet/>
      <dgm:spPr/>
      <dgm:t>
        <a:bodyPr/>
        <a:lstStyle/>
        <a:p>
          <a:endParaRPr lang="zh-CN" altLang="en-US"/>
        </a:p>
      </dgm:t>
    </dgm:pt>
    <dgm:pt modelId="{0458FE03-5889-49A6-ACAB-F890C5D34919}">
      <dgm:prSet phldrT="[文本]" custT="1"/>
      <dgm:spPr/>
      <dgm:t>
        <a:bodyPr/>
        <a:lstStyle/>
        <a:p>
          <a:pPr algn="ctr"/>
          <a:r>
            <a:rPr lang="zh-CN" altLang="en-US" sz="14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移动云</a:t>
          </a:r>
          <a:endParaRPr lang="zh-CN" altLang="en-US" sz="14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39D78A5-B1D5-4902-B8A1-C784D773C351}" type="parTrans" cxnId="{254B3AD6-3019-47A7-9E97-A1BF6DF338FE}">
      <dgm:prSet/>
      <dgm:spPr/>
      <dgm:t>
        <a:bodyPr/>
        <a:lstStyle/>
        <a:p>
          <a:endParaRPr lang="zh-CN" altLang="en-US"/>
        </a:p>
      </dgm:t>
    </dgm:pt>
    <dgm:pt modelId="{14D9F72A-1FDC-4BBB-A018-96174477A484}" type="sibTrans" cxnId="{254B3AD6-3019-47A7-9E97-A1BF6DF338FE}">
      <dgm:prSet/>
      <dgm:spPr/>
      <dgm:t>
        <a:bodyPr/>
        <a:lstStyle/>
        <a:p>
          <a:endParaRPr lang="zh-CN" altLang="en-US"/>
        </a:p>
      </dgm:t>
    </dgm:pt>
    <dgm:pt modelId="{A7344CD0-985E-4E00-8F1D-E785A67F460B}">
      <dgm:prSet custT="1"/>
      <dgm:spPr/>
      <dgm:t>
        <a:bodyPr/>
        <a:lstStyle/>
        <a:p>
          <a:pPr algn="r"/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6851C22-A002-403E-A941-81DDE93E6885}" type="parTrans" cxnId="{B014EC8A-2105-43FC-A068-F8DF193E16DC}">
      <dgm:prSet/>
      <dgm:spPr/>
      <dgm:t>
        <a:bodyPr/>
        <a:lstStyle/>
        <a:p>
          <a:endParaRPr lang="zh-CN" altLang="en-US"/>
        </a:p>
      </dgm:t>
    </dgm:pt>
    <dgm:pt modelId="{FF8ED11C-2A84-462E-BB87-15BAA9E3C57C}" type="sibTrans" cxnId="{B014EC8A-2105-43FC-A068-F8DF193E16DC}">
      <dgm:prSet/>
      <dgm:spPr/>
      <dgm:t>
        <a:bodyPr/>
        <a:lstStyle/>
        <a:p>
          <a:endParaRPr lang="zh-CN" altLang="en-US"/>
        </a:p>
      </dgm:t>
    </dgm:pt>
    <dgm:pt modelId="{FA5BCD66-35EE-4926-AB7E-916BCD9C6789}">
      <dgm:prSet phldrT="[文本]" custT="1"/>
      <dgm:spPr/>
      <dgm:t>
        <a:bodyPr/>
        <a:lstStyle/>
        <a:p>
          <a:pPr algn="l"/>
          <a:endParaRPr lang="en-US" altLang="zh-CN" sz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algn="l"/>
          <a:r>
            <a: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  云分析</a:t>
          </a:r>
          <a:endParaRPr lang="en-US" altLang="zh-CN" sz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algn="l"/>
          <a:r>
            <a: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  云测试</a:t>
          </a:r>
          <a:endParaRPr lang="en-US" altLang="zh-CN" sz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algn="l"/>
          <a:r>
            <a: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  云推送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CD99199-8386-4C01-898B-9CE3420C431A}" type="parTrans" cxnId="{D95F52E9-82FF-4B5C-83A0-AB92A1AFB868}">
      <dgm:prSet/>
      <dgm:spPr/>
      <dgm:t>
        <a:bodyPr/>
        <a:lstStyle/>
        <a:p>
          <a:endParaRPr lang="zh-CN" altLang="en-US"/>
        </a:p>
      </dgm:t>
    </dgm:pt>
    <dgm:pt modelId="{B011D0EB-6611-4347-9C8E-EB97DF5AB4B6}" type="sibTrans" cxnId="{D95F52E9-82FF-4B5C-83A0-AB92A1AFB868}">
      <dgm:prSet/>
      <dgm:spPr/>
      <dgm:t>
        <a:bodyPr/>
        <a:lstStyle/>
        <a:p>
          <a:endParaRPr lang="zh-CN" altLang="en-US"/>
        </a:p>
      </dgm:t>
    </dgm:pt>
    <dgm:pt modelId="{7BB43E9C-4D58-4E63-85BA-02B0D350995E}">
      <dgm:prSet custT="1"/>
      <dgm:spPr/>
      <dgm:t>
        <a:bodyPr/>
        <a:lstStyle/>
        <a:p>
          <a:pPr algn="r"/>
          <a:r>
            <a:rPr lang="en-US" altLang="zh-CN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</a:t>
          </a:r>
          <a:endParaRPr lang="zh-CN" altLang="en-US" sz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EB0BC28-621E-4583-9DAB-F6E5F4E80F99}" type="parTrans" cxnId="{7E2F538B-E7BA-47B0-960B-BF140C1F848B}">
      <dgm:prSet/>
      <dgm:spPr/>
      <dgm:t>
        <a:bodyPr/>
        <a:lstStyle/>
        <a:p>
          <a:endParaRPr lang="zh-CN" altLang="en-US"/>
        </a:p>
      </dgm:t>
    </dgm:pt>
    <dgm:pt modelId="{8C090E30-492F-40CB-BB29-5BF0DD52B7F2}" type="sibTrans" cxnId="{7E2F538B-E7BA-47B0-960B-BF140C1F848B}">
      <dgm:prSet/>
      <dgm:spPr/>
      <dgm:t>
        <a:bodyPr/>
        <a:lstStyle/>
        <a:p>
          <a:endParaRPr lang="zh-CN" altLang="en-US"/>
        </a:p>
      </dgm:t>
    </dgm:pt>
    <dgm:pt modelId="{4B4D89EA-499E-4547-B64E-FAAF0107E240}" type="pres">
      <dgm:prSet presAssocID="{53B52D39-C61A-4894-A957-9E87F42CED54}" presName="Name0" presStyleCnt="0">
        <dgm:presLayoutVars>
          <dgm:chMax val="7"/>
          <dgm:chPref val="5"/>
          <dgm:dir/>
          <dgm:animOne val="branch"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9C134B5D-3F78-47EC-9415-B612498CF7C2}" type="pres">
      <dgm:prSet presAssocID="{0458FE03-5889-49A6-ACAB-F890C5D34919}" presName="ChildAccent4" presStyleCnt="0"/>
      <dgm:spPr/>
    </dgm:pt>
    <dgm:pt modelId="{4A8B4CDE-9B5D-4804-8ABE-A57955118999}" type="pres">
      <dgm:prSet presAssocID="{0458FE03-5889-49A6-ACAB-F890C5D34919}" presName="ChildAccent" presStyleLbl="alignImgPlace1" presStyleIdx="0" presStyleCnt="4"/>
      <dgm:spPr/>
      <dgm:t>
        <a:bodyPr/>
        <a:lstStyle/>
        <a:p>
          <a:endParaRPr lang="zh-CN" altLang="en-US"/>
        </a:p>
      </dgm:t>
    </dgm:pt>
    <dgm:pt modelId="{5DD8538A-A7CF-4FE7-90BF-792CBC964AE2}" type="pres">
      <dgm:prSet presAssocID="{0458FE03-5889-49A6-ACAB-F890C5D34919}" presName="Child4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43E5415-0BA2-4F12-89DC-CEBD641FF3DC}" type="pres">
      <dgm:prSet presAssocID="{0458FE03-5889-49A6-ACAB-F890C5D34919}" presName="Parent4" presStyleLbl="node1" presStyleIdx="0" presStyleCnt="4">
        <dgm:presLayoutVars>
          <dgm:chMax val="2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7E3DCF2-B62F-4DE6-B906-4E47C21D7812}" type="pres">
      <dgm:prSet presAssocID="{36C45171-1818-4D8C-862C-62E3640C3F1E}" presName="ChildAccent3" presStyleCnt="0"/>
      <dgm:spPr/>
    </dgm:pt>
    <dgm:pt modelId="{AA890718-E7C8-4F44-A663-8F9D8B1B5079}" type="pres">
      <dgm:prSet presAssocID="{36C45171-1818-4D8C-862C-62E3640C3F1E}" presName="ChildAccent" presStyleLbl="alignImgPlace1" presStyleIdx="1" presStyleCnt="4"/>
      <dgm:spPr/>
      <dgm:t>
        <a:bodyPr/>
        <a:lstStyle/>
        <a:p>
          <a:endParaRPr lang="zh-CN" altLang="en-US"/>
        </a:p>
      </dgm:t>
    </dgm:pt>
    <dgm:pt modelId="{70FE7082-884C-4FBA-92A0-F9E2B669B560}" type="pres">
      <dgm:prSet presAssocID="{36C45171-1818-4D8C-862C-62E3640C3F1E}" presName="Child3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E386355-59CE-4EEE-ADC5-6BDB979E5649}" type="pres">
      <dgm:prSet presAssocID="{36C45171-1818-4D8C-862C-62E3640C3F1E}" presName="Parent3" presStyleLbl="node1" presStyleIdx="1" presStyleCnt="4">
        <dgm:presLayoutVars>
          <dgm:chMax val="2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CD06870-642B-419E-83C6-E753CA1B8D94}" type="pres">
      <dgm:prSet presAssocID="{D9787C88-0B63-4E2F-8296-A18155786693}" presName="ChildAccent2" presStyleCnt="0"/>
      <dgm:spPr/>
    </dgm:pt>
    <dgm:pt modelId="{137AED50-CBA6-450A-A2F5-97FC487D0727}" type="pres">
      <dgm:prSet presAssocID="{D9787C88-0B63-4E2F-8296-A18155786693}" presName="ChildAccent" presStyleLbl="alignImgPlace1" presStyleIdx="2" presStyleCnt="4"/>
      <dgm:spPr/>
      <dgm:t>
        <a:bodyPr/>
        <a:lstStyle/>
        <a:p>
          <a:endParaRPr lang="zh-CN" altLang="en-US"/>
        </a:p>
      </dgm:t>
    </dgm:pt>
    <dgm:pt modelId="{0D7B2241-E667-414A-8A94-70EEAFDAA9F8}" type="pres">
      <dgm:prSet presAssocID="{D9787C88-0B63-4E2F-8296-A18155786693}" presName="Child2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9A68022-58BA-4BAC-AA21-80DCAA46D663}" type="pres">
      <dgm:prSet presAssocID="{D9787C88-0B63-4E2F-8296-A18155786693}" presName="Parent2" presStyleLbl="node1" presStyleIdx="2" presStyleCnt="4">
        <dgm:presLayoutVars>
          <dgm:chMax val="2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55D0F58-A740-44E8-BB52-B087325B89FD}" type="pres">
      <dgm:prSet presAssocID="{361C647C-2C6C-4189-B1CC-CD149112DF1F}" presName="ChildAccent1" presStyleCnt="0"/>
      <dgm:spPr/>
    </dgm:pt>
    <dgm:pt modelId="{50468D0D-FF7D-4BBF-8102-FE5778E30A65}" type="pres">
      <dgm:prSet presAssocID="{361C647C-2C6C-4189-B1CC-CD149112DF1F}" presName="ChildAccent" presStyleLbl="alignImgPlace1" presStyleIdx="3" presStyleCnt="4"/>
      <dgm:spPr/>
      <dgm:t>
        <a:bodyPr/>
        <a:lstStyle/>
        <a:p>
          <a:endParaRPr lang="zh-CN" altLang="en-US"/>
        </a:p>
      </dgm:t>
    </dgm:pt>
    <dgm:pt modelId="{6C69E266-988C-4ED2-8E05-0652D113792B}" type="pres">
      <dgm:prSet presAssocID="{361C647C-2C6C-4189-B1CC-CD149112DF1F}" presName="Child1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8E7A9ED-C6A4-4E70-A85E-E2DA37135A60}" type="pres">
      <dgm:prSet presAssocID="{361C647C-2C6C-4189-B1CC-CD149112DF1F}" presName="Parent1" presStyleLbl="node1" presStyleIdx="3" presStyleCnt="4">
        <dgm:presLayoutVars>
          <dgm:chMax val="2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B014EC8A-2105-43FC-A068-F8DF193E16DC}" srcId="{36C45171-1818-4D8C-862C-62E3640C3F1E}" destId="{A7344CD0-985E-4E00-8F1D-E785A67F460B}" srcOrd="3" destOrd="0" parTransId="{06851C22-A002-403E-A941-81DDE93E6885}" sibTransId="{FF8ED11C-2A84-462E-BB87-15BAA9E3C57C}"/>
    <dgm:cxn modelId="{5BFAC7D7-A9ED-4511-9EAD-67D5DF34A6A7}" srcId="{D9787C88-0B63-4E2F-8296-A18155786693}" destId="{C8FF77FF-56CF-4F2F-AA21-F4227764CDA0}" srcOrd="0" destOrd="0" parTransId="{C23AA61C-CA1F-4F8B-938F-5FF582CAE7D6}" sibTransId="{7614F517-E283-4973-9466-0BEE35E8DE93}"/>
    <dgm:cxn modelId="{90395769-34E8-4390-B5F1-3604A8FB1D76}" type="presOf" srcId="{0458FE03-5889-49A6-ACAB-F890C5D34919}" destId="{C43E5415-0BA2-4F12-89DC-CEBD641FF3DC}" srcOrd="0" destOrd="0" presId="urn:microsoft.com/office/officeart/2011/layout/InterconnectedBlockProcess"/>
    <dgm:cxn modelId="{0594786A-40E1-4E1E-BE96-B442E4387880}" type="presOf" srcId="{D9787C88-0B63-4E2F-8296-A18155786693}" destId="{39A68022-58BA-4BAC-AA21-80DCAA46D663}" srcOrd="0" destOrd="0" presId="urn:microsoft.com/office/officeart/2011/layout/InterconnectedBlockProcess"/>
    <dgm:cxn modelId="{8910F8AE-19D7-4FA9-9ADE-A6FB6DA4D090}" type="presOf" srcId="{DA3E0AF8-36AC-473C-97F5-D96D5BAF6230}" destId="{137AED50-CBA6-450A-A2F5-97FC487D0727}" srcOrd="0" destOrd="2" presId="urn:microsoft.com/office/officeart/2011/layout/InterconnectedBlockProcess"/>
    <dgm:cxn modelId="{7F13CDEB-23A0-4566-80F4-88351E005961}" type="presOf" srcId="{503265CC-A77A-4836-A6D8-1DBD1C4104C1}" destId="{6C69E266-988C-4ED2-8E05-0652D113792B}" srcOrd="1" destOrd="0" presId="urn:microsoft.com/office/officeart/2011/layout/InterconnectedBlockProcess"/>
    <dgm:cxn modelId="{F786F0F0-A37C-437C-90C9-117F92037D11}" type="presOf" srcId="{36C45171-1818-4D8C-862C-62E3640C3F1E}" destId="{CE386355-59CE-4EEE-ADC5-6BDB979E5649}" srcOrd="0" destOrd="0" presId="urn:microsoft.com/office/officeart/2011/layout/InterconnectedBlockProcess"/>
    <dgm:cxn modelId="{020FE7FE-7886-4409-9D79-C0AAC3E2DBE0}" type="presOf" srcId="{7BB43E9C-4D58-4E63-85BA-02B0D350995E}" destId="{4A8B4CDE-9B5D-4804-8ABE-A57955118999}" srcOrd="0" destOrd="1" presId="urn:microsoft.com/office/officeart/2011/layout/InterconnectedBlockProcess"/>
    <dgm:cxn modelId="{410D533C-12CB-4C33-AD49-E74EB4A29347}" srcId="{36C45171-1818-4D8C-862C-62E3640C3F1E}" destId="{307D2580-215C-4800-B2B6-30B25076CDE2}" srcOrd="2" destOrd="0" parTransId="{9276A32F-6F63-405E-9EDE-F8C236694810}" sibTransId="{45AB909E-BC5F-42B6-ABB3-2485BDF90E44}"/>
    <dgm:cxn modelId="{3C7B791A-8DE9-489D-BADB-40005A49E800}" type="presOf" srcId="{A3579C17-6764-46A8-B75C-15060BA8E518}" destId="{70FE7082-884C-4FBA-92A0-F9E2B669B560}" srcOrd="1" destOrd="1" presId="urn:microsoft.com/office/officeart/2011/layout/InterconnectedBlockProcess"/>
    <dgm:cxn modelId="{3F68AD5E-CF13-4AD1-B811-482F17AAC940}" type="presOf" srcId="{A7344CD0-985E-4E00-8F1D-E785A67F460B}" destId="{70FE7082-884C-4FBA-92A0-F9E2B669B560}" srcOrd="1" destOrd="3" presId="urn:microsoft.com/office/officeart/2011/layout/InterconnectedBlockProcess"/>
    <dgm:cxn modelId="{7F161A7A-DC64-4B8D-8DAF-56E86DC25EA3}" type="presOf" srcId="{09D2DAE8-135A-4749-89E2-1FC54BBB52AE}" destId="{50468D0D-FF7D-4BBF-8102-FE5778E30A65}" srcOrd="0" destOrd="1" presId="urn:microsoft.com/office/officeart/2011/layout/InterconnectedBlockProcess"/>
    <dgm:cxn modelId="{6490C7DE-B23E-4CD8-8F3D-85AF1969CE76}" type="presOf" srcId="{B650B37C-962E-4F46-A43E-C616CF38E204}" destId="{137AED50-CBA6-450A-A2F5-97FC487D0727}" srcOrd="0" destOrd="1" presId="urn:microsoft.com/office/officeart/2011/layout/InterconnectedBlockProcess"/>
    <dgm:cxn modelId="{63AA79A7-6567-48C5-BEA1-C1E4BBDAC861}" type="presOf" srcId="{A7344CD0-985E-4E00-8F1D-E785A67F460B}" destId="{AA890718-E7C8-4F44-A663-8F9D8B1B5079}" srcOrd="0" destOrd="3" presId="urn:microsoft.com/office/officeart/2011/layout/InterconnectedBlockProcess"/>
    <dgm:cxn modelId="{E6BB0715-1664-4D95-9F18-19CA677DC968}" type="presOf" srcId="{09D2DAE8-135A-4749-89E2-1FC54BBB52AE}" destId="{6C69E266-988C-4ED2-8E05-0652D113792B}" srcOrd="1" destOrd="1" presId="urn:microsoft.com/office/officeart/2011/layout/InterconnectedBlockProcess"/>
    <dgm:cxn modelId="{9EB1A7C7-9869-46E0-87E6-6B4A092EBE26}" type="presOf" srcId="{C0F690CF-D1A9-43AC-ADA5-323614DF87F1}" destId="{AA890718-E7C8-4F44-A663-8F9D8B1B5079}" srcOrd="0" destOrd="0" presId="urn:microsoft.com/office/officeart/2011/layout/InterconnectedBlockProcess"/>
    <dgm:cxn modelId="{2E265406-F322-4088-91BC-87988AF5C7A6}" type="presOf" srcId="{53B52D39-C61A-4894-A957-9E87F42CED54}" destId="{4B4D89EA-499E-4547-B64E-FAAF0107E240}" srcOrd="0" destOrd="0" presId="urn:microsoft.com/office/officeart/2011/layout/InterconnectedBlockProcess"/>
    <dgm:cxn modelId="{35E9F5ED-CA48-4E0E-A812-7AF210584443}" srcId="{D9787C88-0B63-4E2F-8296-A18155786693}" destId="{B650B37C-962E-4F46-A43E-C616CF38E204}" srcOrd="1" destOrd="0" parTransId="{174CCC59-7E84-4AFA-B8E4-64D3C279A62D}" sibTransId="{D81A72E5-2248-4C70-9FE4-CB90DE960B6E}"/>
    <dgm:cxn modelId="{D2CA33C9-54C0-4F04-9B72-BB9F2B509E55}" srcId="{D9787C88-0B63-4E2F-8296-A18155786693}" destId="{DA3E0AF8-36AC-473C-97F5-D96D5BAF6230}" srcOrd="2" destOrd="0" parTransId="{04770019-08ED-490D-9DEE-2C43DD5D61B2}" sibTransId="{F993356C-111E-4A39-B5A0-DA0ECB840452}"/>
    <dgm:cxn modelId="{254B3AD6-3019-47A7-9E97-A1BF6DF338FE}" srcId="{53B52D39-C61A-4894-A957-9E87F42CED54}" destId="{0458FE03-5889-49A6-ACAB-F890C5D34919}" srcOrd="3" destOrd="0" parTransId="{639D78A5-B1D5-4902-B8A1-C784D773C351}" sibTransId="{14D9F72A-1FDC-4BBB-A018-96174477A484}"/>
    <dgm:cxn modelId="{E1C914FF-E256-4301-9462-A42F4F6FF4A2}" srcId="{361C647C-2C6C-4189-B1CC-CD149112DF1F}" destId="{503265CC-A77A-4836-A6D8-1DBD1C4104C1}" srcOrd="0" destOrd="0" parTransId="{8EF1727F-DE4A-4DF2-A287-EB097A6232D3}" sibTransId="{10FBB7E9-6553-4EEF-827E-272AF2213CEB}"/>
    <dgm:cxn modelId="{7CD06FC3-E55F-4F3C-BCAB-799E3918AB91}" srcId="{36C45171-1818-4D8C-862C-62E3640C3F1E}" destId="{C0F690CF-D1A9-43AC-ADA5-323614DF87F1}" srcOrd="0" destOrd="0" parTransId="{FECC94E3-5CD4-4EF9-B284-AC0BC9BB65B1}" sibTransId="{F7EAAE9B-5FBE-423F-A963-C3036C4F95CF}"/>
    <dgm:cxn modelId="{960E15BA-9440-4868-B121-62ED2C2CE4BB}" type="presOf" srcId="{503265CC-A77A-4836-A6D8-1DBD1C4104C1}" destId="{50468D0D-FF7D-4BBF-8102-FE5778E30A65}" srcOrd="0" destOrd="0" presId="urn:microsoft.com/office/officeart/2011/layout/InterconnectedBlockProcess"/>
    <dgm:cxn modelId="{A4B2D1A0-8640-419E-AE81-DD7E7C996F96}" srcId="{53B52D39-C61A-4894-A957-9E87F42CED54}" destId="{361C647C-2C6C-4189-B1CC-CD149112DF1F}" srcOrd="0" destOrd="0" parTransId="{3F48F352-9128-409F-8672-F8D8A9DD95A9}" sibTransId="{18109CEF-5EA5-4605-A07E-0FFA0E346547}"/>
    <dgm:cxn modelId="{5E904C6D-8790-4E13-A08B-A4331341C409}" srcId="{53B52D39-C61A-4894-A957-9E87F42CED54}" destId="{36C45171-1818-4D8C-862C-62E3640C3F1E}" srcOrd="2" destOrd="0" parTransId="{17910DBC-8A34-4205-BECC-C7B2F71A96D5}" sibTransId="{51BF0D4F-E556-4733-A0B1-E30379221BF2}"/>
    <dgm:cxn modelId="{550EF391-EC1D-43BB-9753-F74CA9682C88}" type="presOf" srcId="{A3579C17-6764-46A8-B75C-15060BA8E518}" destId="{AA890718-E7C8-4F44-A663-8F9D8B1B5079}" srcOrd="0" destOrd="1" presId="urn:microsoft.com/office/officeart/2011/layout/InterconnectedBlockProcess"/>
    <dgm:cxn modelId="{42885562-FE31-49EE-9101-DA3EF11143A0}" type="presOf" srcId="{B650B37C-962E-4F46-A43E-C616CF38E204}" destId="{0D7B2241-E667-414A-8A94-70EEAFDAA9F8}" srcOrd="1" destOrd="1" presId="urn:microsoft.com/office/officeart/2011/layout/InterconnectedBlockProcess"/>
    <dgm:cxn modelId="{7E2F538B-E7BA-47B0-960B-BF140C1F848B}" srcId="{0458FE03-5889-49A6-ACAB-F890C5D34919}" destId="{7BB43E9C-4D58-4E63-85BA-02B0D350995E}" srcOrd="1" destOrd="0" parTransId="{5EB0BC28-621E-4583-9DAB-F6E5F4E80F99}" sibTransId="{8C090E30-492F-40CB-BB29-5BF0DD52B7F2}"/>
    <dgm:cxn modelId="{748D1BB8-2306-44FA-A61F-E4BE0914BDA8}" type="presOf" srcId="{82111918-F5DB-4E2A-9357-030737833621}" destId="{6C69E266-988C-4ED2-8E05-0652D113792B}" srcOrd="1" destOrd="3" presId="urn:microsoft.com/office/officeart/2011/layout/InterconnectedBlockProcess"/>
    <dgm:cxn modelId="{CF8D88A4-A049-4AF0-B110-B8EA6F5240AF}" srcId="{36C45171-1818-4D8C-862C-62E3640C3F1E}" destId="{A3579C17-6764-46A8-B75C-15060BA8E518}" srcOrd="1" destOrd="0" parTransId="{56B9F33D-3AEA-47DC-AB46-BB1526DA9948}" sibTransId="{1FE8ED60-B7C5-47E6-8999-E1FA97EA6ECA}"/>
    <dgm:cxn modelId="{DCDF860E-D5B4-4DEF-A747-3BC9D45F22FF}" type="presOf" srcId="{82111918-F5DB-4E2A-9357-030737833621}" destId="{50468D0D-FF7D-4BBF-8102-FE5778E30A65}" srcOrd="0" destOrd="3" presId="urn:microsoft.com/office/officeart/2011/layout/InterconnectedBlockProcess"/>
    <dgm:cxn modelId="{056377C0-3883-4A4E-B032-6AADFF4C210B}" srcId="{361C647C-2C6C-4189-B1CC-CD149112DF1F}" destId="{09D2DAE8-135A-4749-89E2-1FC54BBB52AE}" srcOrd="1" destOrd="0" parTransId="{639E96C7-A478-4865-9284-012502915A2C}" sibTransId="{DA53DA0A-12E5-47D2-90FD-6D03E563A266}"/>
    <dgm:cxn modelId="{AE1A9216-42F2-4F50-A117-ACEA36607C57}" type="presOf" srcId="{C8FF77FF-56CF-4F2F-AA21-F4227764CDA0}" destId="{137AED50-CBA6-450A-A2F5-97FC487D0727}" srcOrd="0" destOrd="0" presId="urn:microsoft.com/office/officeart/2011/layout/InterconnectedBlockProcess"/>
    <dgm:cxn modelId="{5AD25E51-2D0C-4821-8771-336CF40C6DF6}" type="presOf" srcId="{1598EDB7-E9FE-4D21-A2A4-947D23AB0D42}" destId="{137AED50-CBA6-450A-A2F5-97FC487D0727}" srcOrd="0" destOrd="3" presId="urn:microsoft.com/office/officeart/2011/layout/InterconnectedBlockProcess"/>
    <dgm:cxn modelId="{73698D72-614E-4C56-BDB1-13F65C9D59D7}" type="presOf" srcId="{307D2580-215C-4800-B2B6-30B25076CDE2}" destId="{70FE7082-884C-4FBA-92A0-F9E2B669B560}" srcOrd="1" destOrd="2" presId="urn:microsoft.com/office/officeart/2011/layout/InterconnectedBlockProcess"/>
    <dgm:cxn modelId="{643391CC-0D48-4FE2-A9C1-60C032142764}" srcId="{D9787C88-0B63-4E2F-8296-A18155786693}" destId="{1598EDB7-E9FE-4D21-A2A4-947D23AB0D42}" srcOrd="3" destOrd="0" parTransId="{01978FB3-B086-4B91-A5BA-2631902E92C7}" sibTransId="{9DC89FC9-4227-4D26-A8FF-A2AEE39B4072}"/>
    <dgm:cxn modelId="{7F243156-C4ED-4386-8BC9-99BB4CBA3456}" srcId="{53B52D39-C61A-4894-A957-9E87F42CED54}" destId="{D9787C88-0B63-4E2F-8296-A18155786693}" srcOrd="1" destOrd="0" parTransId="{0B3B8491-DD1C-4914-B8BB-92E887532F53}" sibTransId="{22FD0D27-7AB4-4821-971A-141B9DEF7EC2}"/>
    <dgm:cxn modelId="{D95F52E9-82FF-4B5C-83A0-AB92A1AFB868}" srcId="{0458FE03-5889-49A6-ACAB-F890C5D34919}" destId="{FA5BCD66-35EE-4926-AB7E-916BCD9C6789}" srcOrd="0" destOrd="0" parTransId="{5CD99199-8386-4C01-898B-9CE3420C431A}" sibTransId="{B011D0EB-6611-4347-9C8E-EB97DF5AB4B6}"/>
    <dgm:cxn modelId="{EB410542-8A05-40CA-B96F-B7CA3B1D02D9}" srcId="{361C647C-2C6C-4189-B1CC-CD149112DF1F}" destId="{82111918-F5DB-4E2A-9357-030737833621}" srcOrd="3" destOrd="0" parTransId="{81122D93-9A7C-4376-9664-E6670F012D57}" sibTransId="{D7467AEC-DEAE-4A97-BDC5-B59BF54AC6AC}"/>
    <dgm:cxn modelId="{C6F1D25C-D151-4114-909A-23136BBFE622}" type="presOf" srcId="{1598EDB7-E9FE-4D21-A2A4-947D23AB0D42}" destId="{0D7B2241-E667-414A-8A94-70EEAFDAA9F8}" srcOrd="1" destOrd="3" presId="urn:microsoft.com/office/officeart/2011/layout/InterconnectedBlockProcess"/>
    <dgm:cxn modelId="{D3CB94FA-87D3-4CFC-AAC2-92773E1A5F67}" type="presOf" srcId="{361C647C-2C6C-4189-B1CC-CD149112DF1F}" destId="{98E7A9ED-C6A4-4E70-A85E-E2DA37135A60}" srcOrd="0" destOrd="0" presId="urn:microsoft.com/office/officeart/2011/layout/InterconnectedBlockProcess"/>
    <dgm:cxn modelId="{37CBE1F3-8D4B-400D-B9E3-41C903BBA4BC}" type="presOf" srcId="{8DF4D326-0E35-4C21-A631-3214B85031E1}" destId="{6C69E266-988C-4ED2-8E05-0652D113792B}" srcOrd="1" destOrd="2" presId="urn:microsoft.com/office/officeart/2011/layout/InterconnectedBlockProcess"/>
    <dgm:cxn modelId="{D4C31EE8-2725-4C47-8126-24104A742EAF}" type="presOf" srcId="{7BB43E9C-4D58-4E63-85BA-02B0D350995E}" destId="{5DD8538A-A7CF-4FE7-90BF-792CBC964AE2}" srcOrd="1" destOrd="1" presId="urn:microsoft.com/office/officeart/2011/layout/InterconnectedBlockProcess"/>
    <dgm:cxn modelId="{AADF579E-56E5-4B3F-ADD6-CABF5C79F97B}" type="presOf" srcId="{FA5BCD66-35EE-4926-AB7E-916BCD9C6789}" destId="{5DD8538A-A7CF-4FE7-90BF-792CBC964AE2}" srcOrd="1" destOrd="0" presId="urn:microsoft.com/office/officeart/2011/layout/InterconnectedBlockProcess"/>
    <dgm:cxn modelId="{E76EB744-2B08-4F77-B911-78EE4BCCB882}" type="presOf" srcId="{307D2580-215C-4800-B2B6-30B25076CDE2}" destId="{AA890718-E7C8-4F44-A663-8F9D8B1B5079}" srcOrd="0" destOrd="2" presId="urn:microsoft.com/office/officeart/2011/layout/InterconnectedBlockProcess"/>
    <dgm:cxn modelId="{ACAA299E-04DE-4C80-A25B-D1C9474200D8}" srcId="{361C647C-2C6C-4189-B1CC-CD149112DF1F}" destId="{8DF4D326-0E35-4C21-A631-3214B85031E1}" srcOrd="2" destOrd="0" parTransId="{9C035D13-B342-48CA-B946-DB60ADAB0166}" sibTransId="{9CD09AE9-24A5-4FBD-87B2-3D73226417C5}"/>
    <dgm:cxn modelId="{FD89106E-DE68-4DDB-A5B9-028B25F206B0}" type="presOf" srcId="{C8FF77FF-56CF-4F2F-AA21-F4227764CDA0}" destId="{0D7B2241-E667-414A-8A94-70EEAFDAA9F8}" srcOrd="1" destOrd="0" presId="urn:microsoft.com/office/officeart/2011/layout/InterconnectedBlockProcess"/>
    <dgm:cxn modelId="{53077A39-EBA6-48AB-8C44-866CD7468998}" type="presOf" srcId="{8DF4D326-0E35-4C21-A631-3214B85031E1}" destId="{50468D0D-FF7D-4BBF-8102-FE5778E30A65}" srcOrd="0" destOrd="2" presId="urn:microsoft.com/office/officeart/2011/layout/InterconnectedBlockProcess"/>
    <dgm:cxn modelId="{0CA050C7-5163-454F-BC7F-00B1FDEBCCAB}" type="presOf" srcId="{FA5BCD66-35EE-4926-AB7E-916BCD9C6789}" destId="{4A8B4CDE-9B5D-4804-8ABE-A57955118999}" srcOrd="0" destOrd="0" presId="urn:microsoft.com/office/officeart/2011/layout/InterconnectedBlockProcess"/>
    <dgm:cxn modelId="{352C4A50-33DE-44E8-84E2-4A758F4854BB}" type="presOf" srcId="{C0F690CF-D1A9-43AC-ADA5-323614DF87F1}" destId="{70FE7082-884C-4FBA-92A0-F9E2B669B560}" srcOrd="1" destOrd="0" presId="urn:microsoft.com/office/officeart/2011/layout/InterconnectedBlockProcess"/>
    <dgm:cxn modelId="{3014C944-AD30-4F86-A648-7E173BCF49D9}" type="presOf" srcId="{DA3E0AF8-36AC-473C-97F5-D96D5BAF6230}" destId="{0D7B2241-E667-414A-8A94-70EEAFDAA9F8}" srcOrd="1" destOrd="2" presId="urn:microsoft.com/office/officeart/2011/layout/InterconnectedBlockProcess"/>
    <dgm:cxn modelId="{00ADE312-C0A4-477A-A13A-E1DB9EBA4D93}" type="presParOf" srcId="{4B4D89EA-499E-4547-B64E-FAAF0107E240}" destId="{9C134B5D-3F78-47EC-9415-B612498CF7C2}" srcOrd="0" destOrd="0" presId="urn:microsoft.com/office/officeart/2011/layout/InterconnectedBlockProcess"/>
    <dgm:cxn modelId="{38EC3846-27D1-47CE-9815-868599B4C1C4}" type="presParOf" srcId="{9C134B5D-3F78-47EC-9415-B612498CF7C2}" destId="{4A8B4CDE-9B5D-4804-8ABE-A57955118999}" srcOrd="0" destOrd="0" presId="urn:microsoft.com/office/officeart/2011/layout/InterconnectedBlockProcess"/>
    <dgm:cxn modelId="{F2BE7770-B999-4872-94F7-1C20F2F44BA4}" type="presParOf" srcId="{4B4D89EA-499E-4547-B64E-FAAF0107E240}" destId="{5DD8538A-A7CF-4FE7-90BF-792CBC964AE2}" srcOrd="1" destOrd="0" presId="urn:microsoft.com/office/officeart/2011/layout/InterconnectedBlockProcess"/>
    <dgm:cxn modelId="{3B8FCF20-733A-41CF-8156-18EED6A009C5}" type="presParOf" srcId="{4B4D89EA-499E-4547-B64E-FAAF0107E240}" destId="{C43E5415-0BA2-4F12-89DC-CEBD641FF3DC}" srcOrd="2" destOrd="0" presId="urn:microsoft.com/office/officeart/2011/layout/InterconnectedBlockProcess"/>
    <dgm:cxn modelId="{718FAD5C-F185-4CB6-A503-338EFE09DFD9}" type="presParOf" srcId="{4B4D89EA-499E-4547-B64E-FAAF0107E240}" destId="{A7E3DCF2-B62F-4DE6-B906-4E47C21D7812}" srcOrd="3" destOrd="0" presId="urn:microsoft.com/office/officeart/2011/layout/InterconnectedBlockProcess"/>
    <dgm:cxn modelId="{A88FD5EE-409D-4573-9BAA-09559AC83A37}" type="presParOf" srcId="{A7E3DCF2-B62F-4DE6-B906-4E47C21D7812}" destId="{AA890718-E7C8-4F44-A663-8F9D8B1B5079}" srcOrd="0" destOrd="0" presId="urn:microsoft.com/office/officeart/2011/layout/InterconnectedBlockProcess"/>
    <dgm:cxn modelId="{BE24951F-8ADB-41C6-B33C-23AE969C515C}" type="presParOf" srcId="{4B4D89EA-499E-4547-B64E-FAAF0107E240}" destId="{70FE7082-884C-4FBA-92A0-F9E2B669B560}" srcOrd="4" destOrd="0" presId="urn:microsoft.com/office/officeart/2011/layout/InterconnectedBlockProcess"/>
    <dgm:cxn modelId="{C959EBE6-3FD8-407A-8C66-F6530BD60ACA}" type="presParOf" srcId="{4B4D89EA-499E-4547-B64E-FAAF0107E240}" destId="{CE386355-59CE-4EEE-ADC5-6BDB979E5649}" srcOrd="5" destOrd="0" presId="urn:microsoft.com/office/officeart/2011/layout/InterconnectedBlockProcess"/>
    <dgm:cxn modelId="{6D51BAC6-05E1-43C6-B159-2E78973F8690}" type="presParOf" srcId="{4B4D89EA-499E-4547-B64E-FAAF0107E240}" destId="{8CD06870-642B-419E-83C6-E753CA1B8D94}" srcOrd="6" destOrd="0" presId="urn:microsoft.com/office/officeart/2011/layout/InterconnectedBlockProcess"/>
    <dgm:cxn modelId="{730643E7-A837-4EC5-AD25-EC5F63A223F3}" type="presParOf" srcId="{8CD06870-642B-419E-83C6-E753CA1B8D94}" destId="{137AED50-CBA6-450A-A2F5-97FC487D0727}" srcOrd="0" destOrd="0" presId="urn:microsoft.com/office/officeart/2011/layout/InterconnectedBlockProcess"/>
    <dgm:cxn modelId="{8E239187-A0E9-4376-8247-4FD3AC7455C1}" type="presParOf" srcId="{4B4D89EA-499E-4547-B64E-FAAF0107E240}" destId="{0D7B2241-E667-414A-8A94-70EEAFDAA9F8}" srcOrd="7" destOrd="0" presId="urn:microsoft.com/office/officeart/2011/layout/InterconnectedBlockProcess"/>
    <dgm:cxn modelId="{427706A7-91E4-497C-9161-14718A6E5264}" type="presParOf" srcId="{4B4D89EA-499E-4547-B64E-FAAF0107E240}" destId="{39A68022-58BA-4BAC-AA21-80DCAA46D663}" srcOrd="8" destOrd="0" presId="urn:microsoft.com/office/officeart/2011/layout/InterconnectedBlockProcess"/>
    <dgm:cxn modelId="{6D80F936-5518-4B4D-A38B-67F9C85F9018}" type="presParOf" srcId="{4B4D89EA-499E-4547-B64E-FAAF0107E240}" destId="{D55D0F58-A740-44E8-BB52-B087325B89FD}" srcOrd="9" destOrd="0" presId="urn:microsoft.com/office/officeart/2011/layout/InterconnectedBlockProcess"/>
    <dgm:cxn modelId="{125287C5-395F-4681-8B8E-53BD6799ADB5}" type="presParOf" srcId="{D55D0F58-A740-44E8-BB52-B087325B89FD}" destId="{50468D0D-FF7D-4BBF-8102-FE5778E30A65}" srcOrd="0" destOrd="0" presId="urn:microsoft.com/office/officeart/2011/layout/InterconnectedBlockProcess"/>
    <dgm:cxn modelId="{04C6E641-B815-434E-90C0-10DFF73F4B83}" type="presParOf" srcId="{4B4D89EA-499E-4547-B64E-FAAF0107E240}" destId="{6C69E266-988C-4ED2-8E05-0652D113792B}" srcOrd="10" destOrd="0" presId="urn:microsoft.com/office/officeart/2011/layout/InterconnectedBlockProcess"/>
    <dgm:cxn modelId="{41012E0A-997E-41AE-A216-6EFF24AA83E8}" type="presParOf" srcId="{4B4D89EA-499E-4547-B64E-FAAF0107E240}" destId="{98E7A9ED-C6A4-4E70-A85E-E2DA37135A60}" srcOrd="11" destOrd="0" presId="urn:microsoft.com/office/officeart/2011/layout/InterconnectedBlock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551B372-DC74-451C-B322-D38082DFE24D}" type="doc">
      <dgm:prSet loTypeId="urn:microsoft.com/office/officeart/2005/8/layout/hProcess4" loCatId="process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zh-CN" altLang="en-US"/>
        </a:p>
      </dgm:t>
    </dgm:pt>
    <dgm:pt modelId="{6DB5910E-DD06-40E5-90B1-546521C8A894}">
      <dgm:prSet phldrT="[文本]" custT="1"/>
      <dgm:spPr/>
      <dgm:t>
        <a:bodyPr/>
        <a:lstStyle/>
        <a:p>
          <a:r>
            <a:rPr lang="zh-CN" altLang="en-US" sz="12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汇集海量数据</a:t>
          </a:r>
          <a:endParaRPr lang="zh-CN" altLang="en-US" sz="12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864A047-C678-433D-92F1-2F3CF2C30182}" type="parTrans" cxnId="{68D704F9-AA45-44CB-A7B3-BD90FC63BF76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911BDAFB-598E-4750-BEFE-1C70E8C80F58}" type="sibTrans" cxnId="{68D704F9-AA45-44CB-A7B3-BD90FC63BF76}">
      <dgm:prSet/>
      <dgm:spPr/>
      <dgm:t>
        <a:bodyPr/>
        <a:lstStyle/>
        <a:p>
          <a:endParaRPr lang="zh-CN" altLang="en-US" sz="1400">
            <a:latin typeface="+mj-ea"/>
            <a:ea typeface="+mj-ea"/>
          </a:endParaRPr>
        </a:p>
      </dgm:t>
    </dgm:pt>
    <dgm:pt modelId="{2B6EBF10-53C3-44B1-A6DA-E96D68ADF45F}">
      <dgm:prSet phldrT="[文本]"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 穿戴设备</a:t>
          </a:r>
          <a:endParaRPr lang="zh-CN" altLang="en-US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A3F196C-CD34-49EC-9E9E-DC01DDE8775F}" type="parTrans" cxnId="{F9A37354-51F8-4EF6-BDEE-AFD04B2CF911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04F8FE83-C43A-4640-93A5-19619760C8C3}" type="sibTrans" cxnId="{F9A37354-51F8-4EF6-BDEE-AFD04B2CF911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3DE301AF-8B6B-477D-BF10-F7E81236A7EB}">
      <dgm:prSet phldrT="[文本]"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数据挖掘</a:t>
          </a:r>
          <a:endParaRPr lang="zh-CN" altLang="en-US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87F2A4E-7F6B-4514-8B1E-32F247C532C0}" type="parTrans" cxnId="{A439F860-E07C-45CE-B397-13BC99AF74C6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5E8BE778-FFD8-49EB-AD6A-7B537C36717A}" type="sibTrans" cxnId="{A439F860-E07C-45CE-B397-13BC99AF74C6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910D9A4A-7195-4AAA-889B-9127F21E91FB}">
      <dgm:prSet phldrT="[文本]" custT="1"/>
      <dgm:spPr/>
      <dgm:t>
        <a:bodyPr/>
        <a:lstStyle/>
        <a:p>
          <a:r>
            <a: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API</a:t>
          </a:r>
          <a:r>
            <a:rPr lang="zh-CN" altLang="en-US" sz="12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开放平台</a:t>
          </a:r>
          <a:endParaRPr lang="zh-CN" altLang="en-US" sz="12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475DB0E-734E-4C06-8733-A65EB4A24C6D}" type="parTrans" cxnId="{20CB8BE3-9119-4901-9D3C-30E3A227F554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F0303DD4-DA9E-420E-812E-170A226FFEFE}" type="sibTrans" cxnId="{20CB8BE3-9119-4901-9D3C-30E3A227F554}">
      <dgm:prSet/>
      <dgm:spPr/>
      <dgm:t>
        <a:bodyPr/>
        <a:lstStyle/>
        <a:p>
          <a:endParaRPr lang="zh-CN" altLang="en-US" sz="1400">
            <a:latin typeface="+mj-ea"/>
            <a:ea typeface="+mj-ea"/>
          </a:endParaRPr>
        </a:p>
      </dgm:t>
    </dgm:pt>
    <dgm:pt modelId="{923AB819-6FF2-4A1D-B503-396AB473E7CF}">
      <dgm:prSet phldrT="[文本]"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 车载终端</a:t>
          </a:r>
          <a:endParaRPr lang="zh-CN" altLang="en-US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B13AA58-F2D5-48E4-8F03-5815B4931D65}" type="parTrans" cxnId="{D1AB3EFF-4EE2-40E6-BC70-F7496D595D76}">
      <dgm:prSet/>
      <dgm:spPr/>
      <dgm:t>
        <a:bodyPr/>
        <a:lstStyle/>
        <a:p>
          <a:endParaRPr lang="zh-CN" altLang="en-US"/>
        </a:p>
      </dgm:t>
    </dgm:pt>
    <dgm:pt modelId="{8129994F-4E90-4B41-AAD8-C97A8FFA0FAB}" type="sibTrans" cxnId="{D1AB3EFF-4EE2-40E6-BC70-F7496D595D76}">
      <dgm:prSet/>
      <dgm:spPr/>
      <dgm:t>
        <a:bodyPr/>
        <a:lstStyle/>
        <a:p>
          <a:endParaRPr lang="zh-CN" altLang="en-US"/>
        </a:p>
      </dgm:t>
    </dgm:pt>
    <dgm:pt modelId="{82D40352-67F2-4291-8886-E94AEB6021EF}">
      <dgm:prSet phldrT="[文本]" custT="1"/>
      <dgm:spPr/>
      <dgm:t>
        <a:bodyPr/>
        <a:lstStyle/>
        <a:p>
          <a:r>
            <a:rPr lang="zh-CN" altLang="en-US" sz="9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</a:t>
          </a:r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数据清洗</a:t>
          </a:r>
          <a:endParaRPr lang="zh-CN" altLang="en-US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A1A1B38-82DA-47FD-A0F0-2781F2E1DDDA}" type="parTrans" cxnId="{ED048FDB-3571-493E-8F23-0477C8712292}">
      <dgm:prSet/>
      <dgm:spPr/>
      <dgm:t>
        <a:bodyPr/>
        <a:lstStyle/>
        <a:p>
          <a:endParaRPr lang="zh-CN" altLang="en-US"/>
        </a:p>
      </dgm:t>
    </dgm:pt>
    <dgm:pt modelId="{1212065C-7645-42D9-82E4-4055C5C9D326}" type="sibTrans" cxnId="{ED048FDB-3571-493E-8F23-0477C8712292}">
      <dgm:prSet/>
      <dgm:spPr/>
      <dgm:t>
        <a:bodyPr/>
        <a:lstStyle/>
        <a:p>
          <a:endParaRPr lang="zh-CN" altLang="en-US"/>
        </a:p>
      </dgm:t>
    </dgm:pt>
    <dgm:pt modelId="{07CA992A-A181-4CD8-AA13-F83D2E7D58FA}">
      <dgm:prSet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稳定永久存储</a:t>
          </a:r>
          <a:endParaRPr lang="en-US" altLang="zh-CN" sz="1000" b="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E2C7CD2-158C-4D56-9FB8-B7705678553F}" type="parTrans" cxnId="{3B9446D5-832B-46AE-A898-EAB2E8041325}">
      <dgm:prSet/>
      <dgm:spPr/>
      <dgm:t>
        <a:bodyPr/>
        <a:lstStyle/>
        <a:p>
          <a:endParaRPr lang="zh-CN" altLang="en-US"/>
        </a:p>
      </dgm:t>
    </dgm:pt>
    <dgm:pt modelId="{A4C27240-5D55-4E9F-8183-C974E7494AF8}" type="sibTrans" cxnId="{3B9446D5-832B-46AE-A898-EAB2E8041325}">
      <dgm:prSet/>
      <dgm:spPr/>
      <dgm:t>
        <a:bodyPr/>
        <a:lstStyle/>
        <a:p>
          <a:endParaRPr lang="zh-CN" altLang="en-US"/>
        </a:p>
      </dgm:t>
    </dgm:pt>
    <dgm:pt modelId="{CC699D93-8CB4-4008-A7BE-6ED133BECD74}">
      <dgm:prSet phldrT="[文本]"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数据分析</a:t>
          </a:r>
          <a:endParaRPr lang="zh-CN" altLang="en-US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A07FC6D-0D78-4E4F-BE15-02813F59FAA5}" type="sibTrans" cxnId="{B4C5B473-0C04-4F1C-8DE1-8DFEC9958C97}">
      <dgm:prSet/>
      <dgm:spPr/>
      <dgm:t>
        <a:bodyPr/>
        <a:lstStyle/>
        <a:p>
          <a:endParaRPr lang="zh-CN" altLang="en-US"/>
        </a:p>
      </dgm:t>
    </dgm:pt>
    <dgm:pt modelId="{9DF0AC00-8213-4946-9F13-9398DDDD47E4}" type="parTrans" cxnId="{B4C5B473-0C04-4F1C-8DE1-8DFEC9958C97}">
      <dgm:prSet/>
      <dgm:spPr/>
      <dgm:t>
        <a:bodyPr/>
        <a:lstStyle/>
        <a:p>
          <a:endParaRPr lang="zh-CN" altLang="en-US"/>
        </a:p>
      </dgm:t>
    </dgm:pt>
    <dgm:pt modelId="{4036F096-5ED0-428E-9A9F-803771FC037D}">
      <dgm:prSet phldrT="[文本]"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 家居设备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0D19ECA-E996-435B-9B7F-57550CC15AC7}" type="parTrans" cxnId="{5A89164D-BD6B-4E92-97E9-7E0C6D299293}">
      <dgm:prSet/>
      <dgm:spPr/>
      <dgm:t>
        <a:bodyPr/>
        <a:lstStyle/>
        <a:p>
          <a:endParaRPr lang="zh-CN" altLang="en-US"/>
        </a:p>
      </dgm:t>
    </dgm:pt>
    <dgm:pt modelId="{94E19A0E-134C-4404-AA74-5D16520CD847}" type="sibTrans" cxnId="{5A89164D-BD6B-4E92-97E9-7E0C6D299293}">
      <dgm:prSet/>
      <dgm:spPr/>
      <dgm:t>
        <a:bodyPr/>
        <a:lstStyle/>
        <a:p>
          <a:endParaRPr lang="zh-CN" altLang="en-US"/>
        </a:p>
      </dgm:t>
    </dgm:pt>
    <dgm:pt modelId="{CB18D469-D688-4ACA-AC07-5FB583D24FD5}">
      <dgm:prSet phldrT="[文本]" custT="1"/>
      <dgm:spPr/>
      <dgm:t>
        <a:bodyPr/>
        <a:lstStyle/>
        <a:p>
          <a:r>
            <a:rPr lang="zh-CN" altLang="en-US" sz="1100" b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 </a:t>
          </a:r>
          <a:r>
            <a:rPr lang="zh-CN" altLang="en-US" sz="11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结合京东用户行为大数据分析</a:t>
          </a:r>
          <a:endParaRPr lang="zh-CN" altLang="en-US" sz="1100" b="0" dirty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E5DA394-04BC-4450-8C07-787A7CBA5C58}" type="parTrans" cxnId="{2A19C943-A2E3-412C-8ECB-209AD745F74F}">
      <dgm:prSet/>
      <dgm:spPr/>
      <dgm:t>
        <a:bodyPr/>
        <a:lstStyle/>
        <a:p>
          <a:endParaRPr lang="zh-CN" altLang="en-US"/>
        </a:p>
      </dgm:t>
    </dgm:pt>
    <dgm:pt modelId="{960B620D-8512-4D98-B478-64448B1921AF}" type="sibTrans" cxnId="{2A19C943-A2E3-412C-8ECB-209AD745F74F}">
      <dgm:prSet/>
      <dgm:spPr/>
      <dgm:t>
        <a:bodyPr/>
        <a:lstStyle/>
        <a:p>
          <a:endParaRPr lang="zh-CN" altLang="en-US" sz="1400"/>
        </a:p>
      </dgm:t>
    </dgm:pt>
    <dgm:pt modelId="{D6F68E01-59F2-4711-BB94-E373A9473F03}">
      <dgm:prSet phldrT="[文本]"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可拓展存储空间</a:t>
          </a:r>
          <a:endParaRPr lang="zh-CN" altLang="en-US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45F5C3D-5B3D-43AA-90EF-D38F563FF3CA}" type="parTrans" cxnId="{2C79F629-BE47-45FC-A4AE-EBA3CD7A5664}">
      <dgm:prSet/>
      <dgm:spPr/>
      <dgm:t>
        <a:bodyPr/>
        <a:lstStyle/>
        <a:p>
          <a:endParaRPr lang="zh-CN" altLang="en-US"/>
        </a:p>
      </dgm:t>
    </dgm:pt>
    <dgm:pt modelId="{89ABFF1D-A88F-404F-99E1-AF9EB6319B99}" type="sibTrans" cxnId="{2C79F629-BE47-45FC-A4AE-EBA3CD7A5664}">
      <dgm:prSet/>
      <dgm:spPr/>
      <dgm:t>
        <a:bodyPr/>
        <a:lstStyle/>
        <a:p>
          <a:endParaRPr lang="zh-CN" altLang="en-US"/>
        </a:p>
      </dgm:t>
    </dgm:pt>
    <dgm:pt modelId="{3F35B349-4C40-4310-AF54-3F9AA950993E}">
      <dgm:prSet phldrT="[文本]"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数据开放</a:t>
          </a:r>
          <a:endParaRPr lang="zh-CN" altLang="en-US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BBAD374-1A4F-4BC3-A5FE-A9CC1512E1C7}" type="parTrans" cxnId="{E3FB1F1C-4992-45F6-942D-FFD50BE69531}">
      <dgm:prSet/>
      <dgm:spPr/>
      <dgm:t>
        <a:bodyPr/>
        <a:lstStyle/>
        <a:p>
          <a:endParaRPr lang="zh-CN" altLang="en-US"/>
        </a:p>
      </dgm:t>
    </dgm:pt>
    <dgm:pt modelId="{C831B729-75B2-4754-9E0E-C284B09F36CF}" type="sibTrans" cxnId="{E3FB1F1C-4992-45F6-942D-FFD50BE69531}">
      <dgm:prSet/>
      <dgm:spPr/>
      <dgm:t>
        <a:bodyPr/>
        <a:lstStyle/>
        <a:p>
          <a:endParaRPr lang="zh-CN" altLang="en-US"/>
        </a:p>
      </dgm:t>
    </dgm:pt>
    <dgm:pt modelId="{97B301AF-98ED-434A-B306-3A28EDA45EEC}">
      <dgm:prSet phldrT="[文本]" custT="1"/>
      <dgm:spPr/>
      <dgm:t>
        <a:bodyPr/>
        <a:lstStyle/>
        <a:p>
          <a:r>
            <a:rPr lang="zh-CN" altLang="en-US" sz="12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云端永久存储</a:t>
          </a:r>
          <a:endParaRPr lang="zh-CN" altLang="en-US" sz="12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274BEAF-659E-4220-9536-6B7C049CAAF5}" type="parTrans" cxnId="{607972D4-8752-4CEC-833F-8A1CD3616424}">
      <dgm:prSet/>
      <dgm:spPr/>
      <dgm:t>
        <a:bodyPr/>
        <a:lstStyle/>
        <a:p>
          <a:endParaRPr lang="zh-CN" altLang="en-US"/>
        </a:p>
      </dgm:t>
    </dgm:pt>
    <dgm:pt modelId="{F8BD072E-FA90-4670-ABBD-1F73D552076F}" type="sibTrans" cxnId="{607972D4-8752-4CEC-833F-8A1CD3616424}">
      <dgm:prSet/>
      <dgm:spPr/>
      <dgm:t>
        <a:bodyPr/>
        <a:lstStyle/>
        <a:p>
          <a:endParaRPr lang="zh-CN" altLang="en-US" sz="1400"/>
        </a:p>
      </dgm:t>
    </dgm:pt>
    <dgm:pt modelId="{938B7031-091C-467A-87D8-D73626AA2000}">
      <dgm:prSet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第三方</a:t>
          </a:r>
          <a:r>
            <a:rPr lang="en-US" altLang="zh-CN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App</a:t>
          </a:r>
          <a:endParaRPr lang="en-US" altLang="zh-CN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94E19DA-F8AC-4783-90D1-0EA58105CB0F}" type="parTrans" cxnId="{B753821F-401A-49BC-8F02-61C3F3F7C44F}">
      <dgm:prSet/>
      <dgm:spPr/>
      <dgm:t>
        <a:bodyPr/>
        <a:lstStyle/>
        <a:p>
          <a:endParaRPr lang="zh-CN" altLang="en-US"/>
        </a:p>
      </dgm:t>
    </dgm:pt>
    <dgm:pt modelId="{C2E125F5-AE7D-405A-8106-679354625DF0}" type="sibTrans" cxnId="{B753821F-401A-49BC-8F02-61C3F3F7C44F}">
      <dgm:prSet/>
      <dgm:spPr/>
      <dgm:t>
        <a:bodyPr/>
        <a:lstStyle/>
        <a:p>
          <a:endParaRPr lang="zh-CN" altLang="en-US"/>
        </a:p>
      </dgm:t>
    </dgm:pt>
    <dgm:pt modelId="{9DE6376C-FC64-4293-B1D2-96B7AA2CD513}">
      <dgm:prSet custT="1"/>
      <dgm:spPr/>
      <dgm:t>
        <a:bodyPr/>
        <a:lstStyle/>
        <a:p>
          <a:r>
            <a:rPr lang="zh-CN" altLang="en-US" sz="12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增值服务平台</a:t>
          </a:r>
          <a:endParaRPr lang="en-US" altLang="zh-CN" sz="12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D218878-2A65-43B4-A8AE-0801D09EFB41}" type="parTrans" cxnId="{111E974D-1706-4FCC-8242-6F1584965BB4}">
      <dgm:prSet/>
      <dgm:spPr/>
      <dgm:t>
        <a:bodyPr/>
        <a:lstStyle/>
        <a:p>
          <a:endParaRPr lang="zh-CN" altLang="en-US"/>
        </a:p>
      </dgm:t>
    </dgm:pt>
    <dgm:pt modelId="{0E61D928-D5DC-48DF-B945-59EC513A0F9A}" type="sibTrans" cxnId="{111E974D-1706-4FCC-8242-6F1584965BB4}">
      <dgm:prSet/>
      <dgm:spPr/>
      <dgm:t>
        <a:bodyPr/>
        <a:lstStyle/>
        <a:p>
          <a:endParaRPr lang="zh-CN" altLang="en-US"/>
        </a:p>
      </dgm:t>
    </dgm:pt>
    <dgm:pt modelId="{B91D2C20-3309-44F2-892F-90875675BC46}">
      <dgm:prSet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增值服务</a:t>
          </a:r>
          <a:endParaRPr lang="en-US" altLang="zh-CN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FB1FF66-5DE3-4AEA-AA46-FE7DA8C452AD}" type="parTrans" cxnId="{F8245929-E481-42B1-B377-D02D3E961615}">
      <dgm:prSet/>
      <dgm:spPr/>
      <dgm:t>
        <a:bodyPr/>
        <a:lstStyle/>
        <a:p>
          <a:endParaRPr lang="zh-CN" altLang="en-US"/>
        </a:p>
      </dgm:t>
    </dgm:pt>
    <dgm:pt modelId="{91B32A5D-70B7-4364-BEDC-81B69B7B7507}" type="sibTrans" cxnId="{F8245929-E481-42B1-B377-D02D3E961615}">
      <dgm:prSet/>
      <dgm:spPr/>
      <dgm:t>
        <a:bodyPr/>
        <a:lstStyle/>
        <a:p>
          <a:endParaRPr lang="zh-CN" altLang="en-US"/>
        </a:p>
      </dgm:t>
    </dgm:pt>
    <dgm:pt modelId="{639061FB-715A-4A94-A433-836A307902E7}">
      <dgm:prSet phldrT="[文本]"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用户开放服务</a:t>
          </a:r>
          <a:endParaRPr lang="zh-CN" altLang="en-US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2855711-763F-4909-984D-306336AA7FCC}" type="parTrans" cxnId="{A4403852-B0B4-411F-9F47-5912593597D0}">
      <dgm:prSet/>
      <dgm:spPr/>
      <dgm:t>
        <a:bodyPr/>
        <a:lstStyle/>
        <a:p>
          <a:endParaRPr lang="zh-CN" altLang="en-US"/>
        </a:p>
      </dgm:t>
    </dgm:pt>
    <dgm:pt modelId="{FAC2B465-F94E-4673-9319-BA150C505264}" type="sibTrans" cxnId="{A4403852-B0B4-411F-9F47-5912593597D0}">
      <dgm:prSet/>
      <dgm:spPr/>
      <dgm:t>
        <a:bodyPr/>
        <a:lstStyle/>
        <a:p>
          <a:endParaRPr lang="zh-CN" altLang="en-US"/>
        </a:p>
      </dgm:t>
    </dgm:pt>
    <dgm:pt modelId="{DA125F91-F3C3-4810-B619-87636C7E6390}">
      <dgm:prSet custT="1"/>
      <dgm:spPr/>
      <dgm:t>
        <a:bodyPr/>
        <a:lstStyle/>
        <a:p>
          <a:r>
            <a:rPr lang="zh-CN" altLang="en-US" sz="1000" b="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个性化应用</a:t>
          </a:r>
          <a:endParaRPr lang="en-US" altLang="zh-CN" sz="1000" b="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1B6B74B-E3B5-44B4-AC56-C79A9A4D750C}" type="parTrans" cxnId="{814F6F20-679C-4DA0-A932-04ACD51005DD}">
      <dgm:prSet/>
      <dgm:spPr/>
      <dgm:t>
        <a:bodyPr/>
        <a:lstStyle/>
        <a:p>
          <a:endParaRPr lang="zh-CN" altLang="en-US"/>
        </a:p>
      </dgm:t>
    </dgm:pt>
    <dgm:pt modelId="{57657201-9D06-4A5E-BCCD-5F81583ECB51}" type="sibTrans" cxnId="{814F6F20-679C-4DA0-A932-04ACD51005DD}">
      <dgm:prSet/>
      <dgm:spPr/>
      <dgm:t>
        <a:bodyPr/>
        <a:lstStyle/>
        <a:p>
          <a:endParaRPr lang="zh-CN" altLang="en-US"/>
        </a:p>
      </dgm:t>
    </dgm:pt>
    <dgm:pt modelId="{E1E00322-ED23-45DC-AA81-482E555065DB}" type="pres">
      <dgm:prSet presAssocID="{8551B372-DC74-451C-B322-D38082DFE24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A2667A72-2B4F-4509-94E3-69B0EF9C0D61}" type="pres">
      <dgm:prSet presAssocID="{8551B372-DC74-451C-B322-D38082DFE24D}" presName="tSp" presStyleCnt="0"/>
      <dgm:spPr/>
      <dgm:t>
        <a:bodyPr/>
        <a:lstStyle/>
        <a:p>
          <a:endParaRPr lang="zh-CN" altLang="en-US"/>
        </a:p>
      </dgm:t>
    </dgm:pt>
    <dgm:pt modelId="{7E91439C-FC3B-4B51-9B7D-43C7CBA17F43}" type="pres">
      <dgm:prSet presAssocID="{8551B372-DC74-451C-B322-D38082DFE24D}" presName="bSp" presStyleCnt="0"/>
      <dgm:spPr/>
      <dgm:t>
        <a:bodyPr/>
        <a:lstStyle/>
        <a:p>
          <a:endParaRPr lang="zh-CN" altLang="en-US"/>
        </a:p>
      </dgm:t>
    </dgm:pt>
    <dgm:pt modelId="{E117986C-E4A7-4D54-8A3E-786ED9A6DF48}" type="pres">
      <dgm:prSet presAssocID="{8551B372-DC74-451C-B322-D38082DFE24D}" presName="process" presStyleCnt="0"/>
      <dgm:spPr/>
      <dgm:t>
        <a:bodyPr/>
        <a:lstStyle/>
        <a:p>
          <a:endParaRPr lang="zh-CN" altLang="en-US"/>
        </a:p>
      </dgm:t>
    </dgm:pt>
    <dgm:pt modelId="{4D8A482F-4A51-475E-A935-28EDA7D7BD18}" type="pres">
      <dgm:prSet presAssocID="{6DB5910E-DD06-40E5-90B1-546521C8A894}" presName="composite1" presStyleCnt="0"/>
      <dgm:spPr/>
      <dgm:t>
        <a:bodyPr/>
        <a:lstStyle/>
        <a:p>
          <a:endParaRPr lang="zh-CN" altLang="en-US"/>
        </a:p>
      </dgm:t>
    </dgm:pt>
    <dgm:pt modelId="{1731D81E-6B97-40DA-B72F-142861893E70}" type="pres">
      <dgm:prSet presAssocID="{6DB5910E-DD06-40E5-90B1-546521C8A894}" presName="dummyNode1" presStyleLbl="node1" presStyleIdx="0" presStyleCnt="5"/>
      <dgm:spPr/>
      <dgm:t>
        <a:bodyPr/>
        <a:lstStyle/>
        <a:p>
          <a:endParaRPr lang="zh-CN" altLang="en-US"/>
        </a:p>
      </dgm:t>
    </dgm:pt>
    <dgm:pt modelId="{CA130981-3CD4-45FB-8A6C-5D2C0231EE50}" type="pres">
      <dgm:prSet presAssocID="{6DB5910E-DD06-40E5-90B1-546521C8A894}" presName="childNode1" presStyleLbl="bgAcc1" presStyleIdx="0" presStyleCnt="5" custLinFactNeighborX="-17116" custLinFactNeighborY="12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5C6065B-0776-4E92-8A73-41B7AE73C71D}" type="pres">
      <dgm:prSet presAssocID="{6DB5910E-DD06-40E5-90B1-546521C8A894}" presName="childNode1tx" presStyleLbl="bgAcc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AB7F219-9FA0-4EEA-ABD3-888646C41790}" type="pres">
      <dgm:prSet presAssocID="{6DB5910E-DD06-40E5-90B1-546521C8A894}" presName="parentNode1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8F5F681-9985-4089-BE97-2CE16224DA97}" type="pres">
      <dgm:prSet presAssocID="{6DB5910E-DD06-40E5-90B1-546521C8A894}" presName="connSite1" presStyleCnt="0"/>
      <dgm:spPr/>
      <dgm:t>
        <a:bodyPr/>
        <a:lstStyle/>
        <a:p>
          <a:endParaRPr lang="zh-CN" altLang="en-US"/>
        </a:p>
      </dgm:t>
    </dgm:pt>
    <dgm:pt modelId="{B6BB9137-DEBD-4D91-8ABE-9C8B885E1ED1}" type="pres">
      <dgm:prSet presAssocID="{911BDAFB-598E-4750-BEFE-1C70E8C80F58}" presName="Name9" presStyleLbl="sibTrans2D1" presStyleIdx="0" presStyleCnt="4"/>
      <dgm:spPr/>
      <dgm:t>
        <a:bodyPr/>
        <a:lstStyle/>
        <a:p>
          <a:endParaRPr lang="zh-CN" altLang="en-US"/>
        </a:p>
      </dgm:t>
    </dgm:pt>
    <dgm:pt modelId="{3B1C3896-BA29-4EA0-83F8-B70CA8735928}" type="pres">
      <dgm:prSet presAssocID="{97B301AF-98ED-434A-B306-3A28EDA45EEC}" presName="composite2" presStyleCnt="0"/>
      <dgm:spPr/>
      <dgm:t>
        <a:bodyPr/>
        <a:lstStyle/>
        <a:p>
          <a:endParaRPr lang="zh-CN" altLang="en-US"/>
        </a:p>
      </dgm:t>
    </dgm:pt>
    <dgm:pt modelId="{869ECCE4-13A1-48AA-AFE3-A9F63DCFDC51}" type="pres">
      <dgm:prSet presAssocID="{97B301AF-98ED-434A-B306-3A28EDA45EEC}" presName="dummyNode2" presStyleLbl="node1" presStyleIdx="0" presStyleCnt="5"/>
      <dgm:spPr/>
      <dgm:t>
        <a:bodyPr/>
        <a:lstStyle/>
        <a:p>
          <a:endParaRPr lang="zh-CN" altLang="en-US"/>
        </a:p>
      </dgm:t>
    </dgm:pt>
    <dgm:pt modelId="{E3981F0C-AE77-4EDC-AE56-309F485C8A7D}" type="pres">
      <dgm:prSet presAssocID="{97B301AF-98ED-434A-B306-3A28EDA45EEC}" presName="childNode2" presStyleLbl="bgAcc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73305FB-0159-4336-9953-3622D2C32E54}" type="pres">
      <dgm:prSet presAssocID="{97B301AF-98ED-434A-B306-3A28EDA45EEC}" presName="childNode2tx" presStyleLbl="bgAcc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E2EFA03-1453-4B0E-938F-548D59F943B0}" type="pres">
      <dgm:prSet presAssocID="{97B301AF-98ED-434A-B306-3A28EDA45EEC}" presName="parentNode2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C2F4814-7CD0-443F-9186-107BDF15E1C5}" type="pres">
      <dgm:prSet presAssocID="{97B301AF-98ED-434A-B306-3A28EDA45EEC}" presName="connSite2" presStyleCnt="0"/>
      <dgm:spPr/>
      <dgm:t>
        <a:bodyPr/>
        <a:lstStyle/>
        <a:p>
          <a:endParaRPr lang="zh-CN" altLang="en-US"/>
        </a:p>
      </dgm:t>
    </dgm:pt>
    <dgm:pt modelId="{57BC311A-8B7A-4AD7-A366-8D7525F5728E}" type="pres">
      <dgm:prSet presAssocID="{F8BD072E-FA90-4670-ABBD-1F73D552076F}" presName="Name18" presStyleLbl="sibTrans2D1" presStyleIdx="1" presStyleCnt="4"/>
      <dgm:spPr/>
      <dgm:t>
        <a:bodyPr/>
        <a:lstStyle/>
        <a:p>
          <a:endParaRPr lang="zh-CN" altLang="en-US"/>
        </a:p>
      </dgm:t>
    </dgm:pt>
    <dgm:pt modelId="{A09D32F3-C28E-42A9-B94A-9C67F1518BAB}" type="pres">
      <dgm:prSet presAssocID="{CB18D469-D688-4ACA-AC07-5FB583D24FD5}" presName="composite1" presStyleCnt="0"/>
      <dgm:spPr/>
    </dgm:pt>
    <dgm:pt modelId="{49D0775D-32AB-45F3-BF0E-9393656532CC}" type="pres">
      <dgm:prSet presAssocID="{CB18D469-D688-4ACA-AC07-5FB583D24FD5}" presName="dummyNode1" presStyleLbl="node1" presStyleIdx="1" presStyleCnt="5"/>
      <dgm:spPr/>
    </dgm:pt>
    <dgm:pt modelId="{DCE68B8E-3F08-4C34-AAB8-640BFDC66FE2}" type="pres">
      <dgm:prSet presAssocID="{CB18D469-D688-4ACA-AC07-5FB583D24FD5}" presName="childNode1" presStyleLbl="bgAcc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96C8407-BD6C-4A69-B772-12897FC6CE30}" type="pres">
      <dgm:prSet presAssocID="{CB18D469-D688-4ACA-AC07-5FB583D24FD5}" presName="childNode1tx" presStyleLbl="bgAcc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5614F8-E1C1-4F94-83BE-BDFE0A04E483}" type="pres">
      <dgm:prSet presAssocID="{CB18D469-D688-4ACA-AC07-5FB583D24FD5}" presName="parentNode1" presStyleLbl="node1" presStyleIdx="2" presStyleCnt="5" custLinFactNeighborX="-209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5D7E067-8562-4E4E-9BA6-E149A187CF3A}" type="pres">
      <dgm:prSet presAssocID="{CB18D469-D688-4ACA-AC07-5FB583D24FD5}" presName="connSite1" presStyleCnt="0"/>
      <dgm:spPr/>
    </dgm:pt>
    <dgm:pt modelId="{04E1BB3B-46AA-4E11-9D6B-24A91198B02D}" type="pres">
      <dgm:prSet presAssocID="{960B620D-8512-4D98-B478-64448B1921AF}" presName="Name9" presStyleLbl="sibTrans2D1" presStyleIdx="2" presStyleCnt="4"/>
      <dgm:spPr/>
      <dgm:t>
        <a:bodyPr/>
        <a:lstStyle/>
        <a:p>
          <a:endParaRPr lang="zh-CN" altLang="en-US"/>
        </a:p>
      </dgm:t>
    </dgm:pt>
    <dgm:pt modelId="{70F35AC9-87E7-4412-9B08-E2ACAEE0B8C2}" type="pres">
      <dgm:prSet presAssocID="{910D9A4A-7195-4AAA-889B-9127F21E91FB}" presName="composite2" presStyleCnt="0"/>
      <dgm:spPr/>
      <dgm:t>
        <a:bodyPr/>
        <a:lstStyle/>
        <a:p>
          <a:endParaRPr lang="zh-CN" altLang="en-US"/>
        </a:p>
      </dgm:t>
    </dgm:pt>
    <dgm:pt modelId="{7066E659-793B-4903-9E71-9A805D655258}" type="pres">
      <dgm:prSet presAssocID="{910D9A4A-7195-4AAA-889B-9127F21E91FB}" presName="dummyNode2" presStyleLbl="node1" presStyleIdx="2" presStyleCnt="5"/>
      <dgm:spPr/>
      <dgm:t>
        <a:bodyPr/>
        <a:lstStyle/>
        <a:p>
          <a:endParaRPr lang="zh-CN" altLang="en-US"/>
        </a:p>
      </dgm:t>
    </dgm:pt>
    <dgm:pt modelId="{7499DB9F-5883-4BF3-BA88-0AA0375203CE}" type="pres">
      <dgm:prSet presAssocID="{910D9A4A-7195-4AAA-889B-9127F21E91FB}" presName="childNode2" presStyleLbl="bgAcc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67D03D7-6193-43BF-82E4-2602305847C6}" type="pres">
      <dgm:prSet presAssocID="{910D9A4A-7195-4AAA-889B-9127F21E91FB}" presName="childNode2tx" presStyleLbl="bgAcc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9F68A5-ADBE-4599-99DF-D8525FB412D6}" type="pres">
      <dgm:prSet presAssocID="{910D9A4A-7195-4AAA-889B-9127F21E91FB}" presName="parentNode2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0B32A55-3030-4219-9E34-7F499A6C43AE}" type="pres">
      <dgm:prSet presAssocID="{910D9A4A-7195-4AAA-889B-9127F21E91FB}" presName="connSite2" presStyleCnt="0"/>
      <dgm:spPr/>
      <dgm:t>
        <a:bodyPr/>
        <a:lstStyle/>
        <a:p>
          <a:endParaRPr lang="zh-CN" altLang="en-US"/>
        </a:p>
      </dgm:t>
    </dgm:pt>
    <dgm:pt modelId="{1202A32C-2B3E-4A78-BD32-4855EBA62791}" type="pres">
      <dgm:prSet presAssocID="{F0303DD4-DA9E-420E-812E-170A226FFEFE}" presName="Name18" presStyleLbl="sibTrans2D1" presStyleIdx="3" presStyleCnt="4"/>
      <dgm:spPr/>
      <dgm:t>
        <a:bodyPr/>
        <a:lstStyle/>
        <a:p>
          <a:endParaRPr lang="zh-CN" altLang="en-US"/>
        </a:p>
      </dgm:t>
    </dgm:pt>
    <dgm:pt modelId="{90A452D1-E2F7-4F93-9D01-9D09238FEACD}" type="pres">
      <dgm:prSet presAssocID="{9DE6376C-FC64-4293-B1D2-96B7AA2CD513}" presName="composite1" presStyleCnt="0"/>
      <dgm:spPr/>
    </dgm:pt>
    <dgm:pt modelId="{A8B53B43-2AB6-4E7C-A914-76515957E354}" type="pres">
      <dgm:prSet presAssocID="{9DE6376C-FC64-4293-B1D2-96B7AA2CD513}" presName="dummyNode1" presStyleLbl="node1" presStyleIdx="3" presStyleCnt="5"/>
      <dgm:spPr/>
    </dgm:pt>
    <dgm:pt modelId="{FD588A91-540A-4297-91B7-095A7B34956E}" type="pres">
      <dgm:prSet presAssocID="{9DE6376C-FC64-4293-B1D2-96B7AA2CD513}" presName="childNode1" presStyleLbl="bgAcc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43D07B2-9FA0-437D-BCBF-4974D5860950}" type="pres">
      <dgm:prSet presAssocID="{9DE6376C-FC64-4293-B1D2-96B7AA2CD513}" presName="childNode1tx" presStyleLbl="bgAcc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09CAA43-80FB-4049-B4D9-C958C24030FF}" type="pres">
      <dgm:prSet presAssocID="{9DE6376C-FC64-4293-B1D2-96B7AA2CD513}" presName="parentNode1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1C538DC-B68E-485D-8D1B-5F1765210CC2}" type="pres">
      <dgm:prSet presAssocID="{9DE6376C-FC64-4293-B1D2-96B7AA2CD513}" presName="connSite1" presStyleCnt="0"/>
      <dgm:spPr/>
    </dgm:pt>
  </dgm:ptLst>
  <dgm:cxnLst>
    <dgm:cxn modelId="{C4B3EBE8-ECDF-4044-A162-7F0A151885DE}" type="presOf" srcId="{F0303DD4-DA9E-420E-812E-170A226FFEFE}" destId="{1202A32C-2B3E-4A78-BD32-4855EBA62791}" srcOrd="0" destOrd="0" presId="urn:microsoft.com/office/officeart/2005/8/layout/hProcess4"/>
    <dgm:cxn modelId="{079EB520-E3BC-48BE-B4A4-50B80C916F4C}" type="presOf" srcId="{3DE301AF-8B6B-477D-BF10-F7E81236A7EB}" destId="{C96C8407-BD6C-4A69-B772-12897FC6CE30}" srcOrd="1" destOrd="1" presId="urn:microsoft.com/office/officeart/2005/8/layout/hProcess4"/>
    <dgm:cxn modelId="{607972D4-8752-4CEC-833F-8A1CD3616424}" srcId="{8551B372-DC74-451C-B322-D38082DFE24D}" destId="{97B301AF-98ED-434A-B306-3A28EDA45EEC}" srcOrd="1" destOrd="0" parTransId="{9274BEAF-659E-4220-9536-6B7C049CAAF5}" sibTransId="{F8BD072E-FA90-4670-ABBD-1F73D552076F}"/>
    <dgm:cxn modelId="{1C4EA3AD-56B4-41EE-8A9B-F6A1E3194AF1}" type="presOf" srcId="{639061FB-715A-4A94-A433-836A307902E7}" destId="{7499DB9F-5883-4BF3-BA88-0AA0375203CE}" srcOrd="0" destOrd="1" presId="urn:microsoft.com/office/officeart/2005/8/layout/hProcess4"/>
    <dgm:cxn modelId="{12FBDA74-3C83-4EF9-AA0A-1C4DBBD9B4C3}" type="presOf" srcId="{960B620D-8512-4D98-B478-64448B1921AF}" destId="{04E1BB3B-46AA-4E11-9D6B-24A91198B02D}" srcOrd="0" destOrd="0" presId="urn:microsoft.com/office/officeart/2005/8/layout/hProcess4"/>
    <dgm:cxn modelId="{D460FD6B-4FA4-48E6-BEA5-75856E11A91C}" type="presOf" srcId="{911BDAFB-598E-4750-BEFE-1C70E8C80F58}" destId="{B6BB9137-DEBD-4D91-8ABE-9C8B885E1ED1}" srcOrd="0" destOrd="0" presId="urn:microsoft.com/office/officeart/2005/8/layout/hProcess4"/>
    <dgm:cxn modelId="{68D704F9-AA45-44CB-A7B3-BD90FC63BF76}" srcId="{8551B372-DC74-451C-B322-D38082DFE24D}" destId="{6DB5910E-DD06-40E5-90B1-546521C8A894}" srcOrd="0" destOrd="0" parTransId="{7864A047-C678-433D-92F1-2F3CF2C30182}" sibTransId="{911BDAFB-598E-4750-BEFE-1C70E8C80F58}"/>
    <dgm:cxn modelId="{E20C99FD-187B-4A67-AE72-AC0C509BD12D}" type="presOf" srcId="{CC699D93-8CB4-4008-A7BE-6ED133BECD74}" destId="{DCE68B8E-3F08-4C34-AAB8-640BFDC66FE2}" srcOrd="0" destOrd="2" presId="urn:microsoft.com/office/officeart/2005/8/layout/hProcess4"/>
    <dgm:cxn modelId="{E2EE4FA9-4C79-41FF-BC78-2134380F7060}" type="presOf" srcId="{8551B372-DC74-451C-B322-D38082DFE24D}" destId="{E1E00322-ED23-45DC-AA81-482E555065DB}" srcOrd="0" destOrd="0" presId="urn:microsoft.com/office/officeart/2005/8/layout/hProcess4"/>
    <dgm:cxn modelId="{688CE033-ED54-40B5-81BC-41C2A4F7516D}" type="presOf" srcId="{3DE301AF-8B6B-477D-BF10-F7E81236A7EB}" destId="{DCE68B8E-3F08-4C34-AAB8-640BFDC66FE2}" srcOrd="0" destOrd="1" presId="urn:microsoft.com/office/officeart/2005/8/layout/hProcess4"/>
    <dgm:cxn modelId="{E3F92F98-8212-4999-86AF-2E51D12F785F}" type="presOf" srcId="{4036F096-5ED0-428E-9A9F-803771FC037D}" destId="{25C6065B-0776-4E92-8A73-41B7AE73C71D}" srcOrd="1" destOrd="0" presId="urn:microsoft.com/office/officeart/2005/8/layout/hProcess4"/>
    <dgm:cxn modelId="{9F1D67F9-E79E-48CC-AAE5-ABFE1346EF4B}" type="presOf" srcId="{D6F68E01-59F2-4711-BB94-E373A9473F03}" destId="{E73305FB-0159-4336-9953-3622D2C32E54}" srcOrd="1" destOrd="0" presId="urn:microsoft.com/office/officeart/2005/8/layout/hProcess4"/>
    <dgm:cxn modelId="{EA1331A6-1D97-4CA1-832A-103A2B3A84B0}" type="presOf" srcId="{923AB819-6FF2-4A1D-B503-396AB473E7CF}" destId="{CA130981-3CD4-45FB-8A6C-5D2C0231EE50}" srcOrd="0" destOrd="2" presId="urn:microsoft.com/office/officeart/2005/8/layout/hProcess4"/>
    <dgm:cxn modelId="{BA0783D1-B3F5-4B50-85C9-575C5A85EC6E}" type="presOf" srcId="{938B7031-091C-467A-87D8-D73626AA2000}" destId="{943D07B2-9FA0-437D-BCBF-4974D5860950}" srcOrd="1" destOrd="0" presId="urn:microsoft.com/office/officeart/2005/8/layout/hProcess4"/>
    <dgm:cxn modelId="{A4403852-B0B4-411F-9F47-5912593597D0}" srcId="{910D9A4A-7195-4AAA-889B-9127F21E91FB}" destId="{639061FB-715A-4A94-A433-836A307902E7}" srcOrd="1" destOrd="0" parTransId="{A2855711-763F-4909-984D-306336AA7FCC}" sibTransId="{FAC2B465-F94E-4673-9319-BA150C505264}"/>
    <dgm:cxn modelId="{814F6F20-679C-4DA0-A932-04ACD51005DD}" srcId="{9DE6376C-FC64-4293-B1D2-96B7AA2CD513}" destId="{DA125F91-F3C3-4810-B619-87636C7E6390}" srcOrd="1" destOrd="0" parTransId="{51B6B74B-E3B5-44B4-AC56-C79A9A4D750C}" sibTransId="{57657201-9D06-4A5E-BCCD-5F81583ECB51}"/>
    <dgm:cxn modelId="{A439F860-E07C-45CE-B397-13BC99AF74C6}" srcId="{CB18D469-D688-4ACA-AC07-5FB583D24FD5}" destId="{3DE301AF-8B6B-477D-BF10-F7E81236A7EB}" srcOrd="1" destOrd="0" parTransId="{587F2A4E-7F6B-4514-8B1E-32F247C532C0}" sibTransId="{5E8BE778-FFD8-49EB-AD6A-7B537C36717A}"/>
    <dgm:cxn modelId="{ECCC2622-8422-4F14-B3F6-362FBDB80B24}" type="presOf" srcId="{639061FB-715A-4A94-A433-836A307902E7}" destId="{267D03D7-6193-43BF-82E4-2602305847C6}" srcOrd="1" destOrd="1" presId="urn:microsoft.com/office/officeart/2005/8/layout/hProcess4"/>
    <dgm:cxn modelId="{6A1FE923-4DF9-463A-97FA-30639D40A21E}" type="presOf" srcId="{DA125F91-F3C3-4810-B619-87636C7E6390}" destId="{FD588A91-540A-4297-91B7-095A7B34956E}" srcOrd="0" destOrd="1" presId="urn:microsoft.com/office/officeart/2005/8/layout/hProcess4"/>
    <dgm:cxn modelId="{B4C5B473-0C04-4F1C-8DE1-8DFEC9958C97}" srcId="{CB18D469-D688-4ACA-AC07-5FB583D24FD5}" destId="{CC699D93-8CB4-4008-A7BE-6ED133BECD74}" srcOrd="2" destOrd="0" parTransId="{9DF0AC00-8213-4946-9F13-9398DDDD47E4}" sibTransId="{8A07FC6D-0D78-4E4F-BE15-02813F59FAA5}"/>
    <dgm:cxn modelId="{20CB8BE3-9119-4901-9D3C-30E3A227F554}" srcId="{8551B372-DC74-451C-B322-D38082DFE24D}" destId="{910D9A4A-7195-4AAA-889B-9127F21E91FB}" srcOrd="3" destOrd="0" parTransId="{8475DB0E-734E-4C06-8733-A65EB4A24C6D}" sibTransId="{F0303DD4-DA9E-420E-812E-170A226FFEFE}"/>
    <dgm:cxn modelId="{F9A37354-51F8-4EF6-BDEE-AFD04B2CF911}" srcId="{6DB5910E-DD06-40E5-90B1-546521C8A894}" destId="{2B6EBF10-53C3-44B1-A6DA-E96D68ADF45F}" srcOrd="1" destOrd="0" parTransId="{0A3F196C-CD34-49EC-9E9E-DC01DDE8775F}" sibTransId="{04F8FE83-C43A-4640-93A5-19619760C8C3}"/>
    <dgm:cxn modelId="{DC8571DE-E4A0-4B0D-923C-8907034EBC5E}" type="presOf" srcId="{923AB819-6FF2-4A1D-B503-396AB473E7CF}" destId="{25C6065B-0776-4E92-8A73-41B7AE73C71D}" srcOrd="1" destOrd="2" presId="urn:microsoft.com/office/officeart/2005/8/layout/hProcess4"/>
    <dgm:cxn modelId="{0DCD0681-2BF5-4174-8E85-F0A519645960}" type="presOf" srcId="{07CA992A-A181-4CD8-AA13-F83D2E7D58FA}" destId="{E73305FB-0159-4336-9953-3622D2C32E54}" srcOrd="1" destOrd="1" presId="urn:microsoft.com/office/officeart/2005/8/layout/hProcess4"/>
    <dgm:cxn modelId="{111E974D-1706-4FCC-8242-6F1584965BB4}" srcId="{8551B372-DC74-451C-B322-D38082DFE24D}" destId="{9DE6376C-FC64-4293-B1D2-96B7AA2CD513}" srcOrd="4" destOrd="0" parTransId="{5D218878-2A65-43B4-A8AE-0801D09EFB41}" sibTransId="{0E61D928-D5DC-48DF-B945-59EC513A0F9A}"/>
    <dgm:cxn modelId="{ED048FDB-3571-493E-8F23-0477C8712292}" srcId="{CB18D469-D688-4ACA-AC07-5FB583D24FD5}" destId="{82D40352-67F2-4291-8886-E94AEB6021EF}" srcOrd="0" destOrd="0" parTransId="{7A1A1B38-82DA-47FD-A0F0-2781F2E1DDDA}" sibTransId="{1212065C-7645-42D9-82E4-4055C5C9D326}"/>
    <dgm:cxn modelId="{F8B2F278-9374-4394-B3D2-F6AE73A695B4}" type="presOf" srcId="{B91D2C20-3309-44F2-892F-90875675BC46}" destId="{FD588A91-540A-4297-91B7-095A7B34956E}" srcOrd="0" destOrd="2" presId="urn:microsoft.com/office/officeart/2005/8/layout/hProcess4"/>
    <dgm:cxn modelId="{57D8672E-F9A3-4523-95F1-976EEB570850}" type="presOf" srcId="{9DE6376C-FC64-4293-B1D2-96B7AA2CD513}" destId="{909CAA43-80FB-4049-B4D9-C958C24030FF}" srcOrd="0" destOrd="0" presId="urn:microsoft.com/office/officeart/2005/8/layout/hProcess4"/>
    <dgm:cxn modelId="{1BA41E6E-A5B3-418D-B14A-110FA0EB3611}" type="presOf" srcId="{82D40352-67F2-4291-8886-E94AEB6021EF}" destId="{DCE68B8E-3F08-4C34-AAB8-640BFDC66FE2}" srcOrd="0" destOrd="0" presId="urn:microsoft.com/office/officeart/2005/8/layout/hProcess4"/>
    <dgm:cxn modelId="{3B9446D5-832B-46AE-A898-EAB2E8041325}" srcId="{97B301AF-98ED-434A-B306-3A28EDA45EEC}" destId="{07CA992A-A181-4CD8-AA13-F83D2E7D58FA}" srcOrd="1" destOrd="0" parTransId="{BE2C7CD2-158C-4D56-9FB8-B7705678553F}" sibTransId="{A4C27240-5D55-4E9F-8183-C974E7494AF8}"/>
    <dgm:cxn modelId="{A02D16FE-9666-4509-A35E-F4ED93B9F31D}" type="presOf" srcId="{2B6EBF10-53C3-44B1-A6DA-E96D68ADF45F}" destId="{CA130981-3CD4-45FB-8A6C-5D2C0231EE50}" srcOrd="0" destOrd="1" presId="urn:microsoft.com/office/officeart/2005/8/layout/hProcess4"/>
    <dgm:cxn modelId="{7DCC609D-B69C-4E43-9AA3-88F94D0CE055}" type="presOf" srcId="{DA125F91-F3C3-4810-B619-87636C7E6390}" destId="{943D07B2-9FA0-437D-BCBF-4974D5860950}" srcOrd="1" destOrd="1" presId="urn:microsoft.com/office/officeart/2005/8/layout/hProcess4"/>
    <dgm:cxn modelId="{C35694AE-B1BA-446D-B784-7491EA91F009}" type="presOf" srcId="{82D40352-67F2-4291-8886-E94AEB6021EF}" destId="{C96C8407-BD6C-4A69-B772-12897FC6CE30}" srcOrd="1" destOrd="0" presId="urn:microsoft.com/office/officeart/2005/8/layout/hProcess4"/>
    <dgm:cxn modelId="{5F1FFD1C-EC3C-4E3D-8E2A-EFC83E5965AA}" type="presOf" srcId="{07CA992A-A181-4CD8-AA13-F83D2E7D58FA}" destId="{E3981F0C-AE77-4EDC-AE56-309F485C8A7D}" srcOrd="0" destOrd="1" presId="urn:microsoft.com/office/officeart/2005/8/layout/hProcess4"/>
    <dgm:cxn modelId="{92D7A608-1632-42E8-8274-B0DF76E93B99}" type="presOf" srcId="{3F35B349-4C40-4310-AF54-3F9AA950993E}" destId="{267D03D7-6193-43BF-82E4-2602305847C6}" srcOrd="1" destOrd="0" presId="urn:microsoft.com/office/officeart/2005/8/layout/hProcess4"/>
    <dgm:cxn modelId="{E3FB1F1C-4992-45F6-942D-FFD50BE69531}" srcId="{910D9A4A-7195-4AAA-889B-9127F21E91FB}" destId="{3F35B349-4C40-4310-AF54-3F9AA950993E}" srcOrd="0" destOrd="0" parTransId="{3BBAD374-1A4F-4BC3-A5FE-A9CC1512E1C7}" sibTransId="{C831B729-75B2-4754-9E0E-C284B09F36CF}"/>
    <dgm:cxn modelId="{D1AB3EFF-4EE2-40E6-BC70-F7496D595D76}" srcId="{6DB5910E-DD06-40E5-90B1-546521C8A894}" destId="{923AB819-6FF2-4A1D-B503-396AB473E7CF}" srcOrd="2" destOrd="0" parTransId="{6B13AA58-F2D5-48E4-8F03-5815B4931D65}" sibTransId="{8129994F-4E90-4B41-AAD8-C97A8FFA0FAB}"/>
    <dgm:cxn modelId="{2C84445A-E9C9-4A9C-ACAD-B0E6A0ECDDD6}" type="presOf" srcId="{97B301AF-98ED-434A-B306-3A28EDA45EEC}" destId="{2E2EFA03-1453-4B0E-938F-548D59F943B0}" srcOrd="0" destOrd="0" presId="urn:microsoft.com/office/officeart/2005/8/layout/hProcess4"/>
    <dgm:cxn modelId="{C96FC709-3287-46B3-B332-9D62EF32F436}" type="presOf" srcId="{910D9A4A-7195-4AAA-889B-9127F21E91FB}" destId="{A29F68A5-ADBE-4599-99DF-D8525FB412D6}" srcOrd="0" destOrd="0" presId="urn:microsoft.com/office/officeart/2005/8/layout/hProcess4"/>
    <dgm:cxn modelId="{F8245929-E481-42B1-B377-D02D3E961615}" srcId="{9DE6376C-FC64-4293-B1D2-96B7AA2CD513}" destId="{B91D2C20-3309-44F2-892F-90875675BC46}" srcOrd="2" destOrd="0" parTransId="{9FB1FF66-5DE3-4AEA-AA46-FE7DA8C452AD}" sibTransId="{91B32A5D-70B7-4364-BEDC-81B69B7B7507}"/>
    <dgm:cxn modelId="{45271A8A-DE68-44AB-8E5C-712F02898558}" type="presOf" srcId="{6DB5910E-DD06-40E5-90B1-546521C8A894}" destId="{DAB7F219-9FA0-4EEA-ABD3-888646C41790}" srcOrd="0" destOrd="0" presId="urn:microsoft.com/office/officeart/2005/8/layout/hProcess4"/>
    <dgm:cxn modelId="{6B30CB58-241F-4B5A-9145-C4059DF5E7EC}" type="presOf" srcId="{D6F68E01-59F2-4711-BB94-E373A9473F03}" destId="{E3981F0C-AE77-4EDC-AE56-309F485C8A7D}" srcOrd="0" destOrd="0" presId="urn:microsoft.com/office/officeart/2005/8/layout/hProcess4"/>
    <dgm:cxn modelId="{642621F5-2B53-4771-8827-4EA99357DEA6}" type="presOf" srcId="{2B6EBF10-53C3-44B1-A6DA-E96D68ADF45F}" destId="{25C6065B-0776-4E92-8A73-41B7AE73C71D}" srcOrd="1" destOrd="1" presId="urn:microsoft.com/office/officeart/2005/8/layout/hProcess4"/>
    <dgm:cxn modelId="{36CC325D-FD27-498E-8301-737929657DE2}" type="presOf" srcId="{CB18D469-D688-4ACA-AC07-5FB583D24FD5}" destId="{EA5614F8-E1C1-4F94-83BE-BDFE0A04E483}" srcOrd="0" destOrd="0" presId="urn:microsoft.com/office/officeart/2005/8/layout/hProcess4"/>
    <dgm:cxn modelId="{2C79F629-BE47-45FC-A4AE-EBA3CD7A5664}" srcId="{97B301AF-98ED-434A-B306-3A28EDA45EEC}" destId="{D6F68E01-59F2-4711-BB94-E373A9473F03}" srcOrd="0" destOrd="0" parTransId="{745F5C3D-5B3D-43AA-90EF-D38F563FF3CA}" sibTransId="{89ABFF1D-A88F-404F-99E1-AF9EB6319B99}"/>
    <dgm:cxn modelId="{B74555BA-9950-40C0-A5E0-32277CF7B284}" type="presOf" srcId="{CC699D93-8CB4-4008-A7BE-6ED133BECD74}" destId="{C96C8407-BD6C-4A69-B772-12897FC6CE30}" srcOrd="1" destOrd="2" presId="urn:microsoft.com/office/officeart/2005/8/layout/hProcess4"/>
    <dgm:cxn modelId="{B753821F-401A-49BC-8F02-61C3F3F7C44F}" srcId="{9DE6376C-FC64-4293-B1D2-96B7AA2CD513}" destId="{938B7031-091C-467A-87D8-D73626AA2000}" srcOrd="0" destOrd="0" parTransId="{694E19DA-F8AC-4783-90D1-0EA58105CB0F}" sibTransId="{C2E125F5-AE7D-405A-8106-679354625DF0}"/>
    <dgm:cxn modelId="{7886F15B-8B10-4438-93CE-244B07A180C0}" type="presOf" srcId="{3F35B349-4C40-4310-AF54-3F9AA950993E}" destId="{7499DB9F-5883-4BF3-BA88-0AA0375203CE}" srcOrd="0" destOrd="0" presId="urn:microsoft.com/office/officeart/2005/8/layout/hProcess4"/>
    <dgm:cxn modelId="{2A19C943-A2E3-412C-8ECB-209AD745F74F}" srcId="{8551B372-DC74-451C-B322-D38082DFE24D}" destId="{CB18D469-D688-4ACA-AC07-5FB583D24FD5}" srcOrd="2" destOrd="0" parTransId="{DE5DA394-04BC-4450-8C07-787A7CBA5C58}" sibTransId="{960B620D-8512-4D98-B478-64448B1921AF}"/>
    <dgm:cxn modelId="{5A89164D-BD6B-4E92-97E9-7E0C6D299293}" srcId="{6DB5910E-DD06-40E5-90B1-546521C8A894}" destId="{4036F096-5ED0-428E-9A9F-803771FC037D}" srcOrd="0" destOrd="0" parTransId="{90D19ECA-E996-435B-9B7F-57550CC15AC7}" sibTransId="{94E19A0E-134C-4404-AA74-5D16520CD847}"/>
    <dgm:cxn modelId="{0F43B6BF-91C7-42AC-953A-D2BC0F845190}" type="presOf" srcId="{F8BD072E-FA90-4670-ABBD-1F73D552076F}" destId="{57BC311A-8B7A-4AD7-A366-8D7525F5728E}" srcOrd="0" destOrd="0" presId="urn:microsoft.com/office/officeart/2005/8/layout/hProcess4"/>
    <dgm:cxn modelId="{275C4A11-7682-4488-9505-942F6F9B3F4E}" type="presOf" srcId="{4036F096-5ED0-428E-9A9F-803771FC037D}" destId="{CA130981-3CD4-45FB-8A6C-5D2C0231EE50}" srcOrd="0" destOrd="0" presId="urn:microsoft.com/office/officeart/2005/8/layout/hProcess4"/>
    <dgm:cxn modelId="{9C237F67-45CB-41CD-ACC6-98CF4002CD1F}" type="presOf" srcId="{938B7031-091C-467A-87D8-D73626AA2000}" destId="{FD588A91-540A-4297-91B7-095A7B34956E}" srcOrd="0" destOrd="0" presId="urn:microsoft.com/office/officeart/2005/8/layout/hProcess4"/>
    <dgm:cxn modelId="{9290EEA6-1835-40C3-B80A-D695758913FE}" type="presOf" srcId="{B91D2C20-3309-44F2-892F-90875675BC46}" destId="{943D07B2-9FA0-437D-BCBF-4974D5860950}" srcOrd="1" destOrd="2" presId="urn:microsoft.com/office/officeart/2005/8/layout/hProcess4"/>
    <dgm:cxn modelId="{3C27FF31-53A1-4A5D-80E5-C57AAEFD08DF}" type="presParOf" srcId="{E1E00322-ED23-45DC-AA81-482E555065DB}" destId="{A2667A72-2B4F-4509-94E3-69B0EF9C0D61}" srcOrd="0" destOrd="0" presId="urn:microsoft.com/office/officeart/2005/8/layout/hProcess4"/>
    <dgm:cxn modelId="{A5C433E8-CC20-4EBC-9B46-5E8CB87FC0F2}" type="presParOf" srcId="{E1E00322-ED23-45DC-AA81-482E555065DB}" destId="{7E91439C-FC3B-4B51-9B7D-43C7CBA17F43}" srcOrd="1" destOrd="0" presId="urn:microsoft.com/office/officeart/2005/8/layout/hProcess4"/>
    <dgm:cxn modelId="{2CB7BC24-BAEF-47D6-9F0C-AD7F828DA3F9}" type="presParOf" srcId="{E1E00322-ED23-45DC-AA81-482E555065DB}" destId="{E117986C-E4A7-4D54-8A3E-786ED9A6DF48}" srcOrd="2" destOrd="0" presId="urn:microsoft.com/office/officeart/2005/8/layout/hProcess4"/>
    <dgm:cxn modelId="{DF868B0D-3E65-4D32-AD28-AE1327FC0AAD}" type="presParOf" srcId="{E117986C-E4A7-4D54-8A3E-786ED9A6DF48}" destId="{4D8A482F-4A51-475E-A935-28EDA7D7BD18}" srcOrd="0" destOrd="0" presId="urn:microsoft.com/office/officeart/2005/8/layout/hProcess4"/>
    <dgm:cxn modelId="{2B24322B-0A40-4EEE-9ACB-4894575A5A09}" type="presParOf" srcId="{4D8A482F-4A51-475E-A935-28EDA7D7BD18}" destId="{1731D81E-6B97-40DA-B72F-142861893E70}" srcOrd="0" destOrd="0" presId="urn:microsoft.com/office/officeart/2005/8/layout/hProcess4"/>
    <dgm:cxn modelId="{AB567B17-FFC3-4F0F-A644-E457FE176420}" type="presParOf" srcId="{4D8A482F-4A51-475E-A935-28EDA7D7BD18}" destId="{CA130981-3CD4-45FB-8A6C-5D2C0231EE50}" srcOrd="1" destOrd="0" presId="urn:microsoft.com/office/officeart/2005/8/layout/hProcess4"/>
    <dgm:cxn modelId="{F058FBAF-6D0B-4B15-9E36-A605A9A7EECF}" type="presParOf" srcId="{4D8A482F-4A51-475E-A935-28EDA7D7BD18}" destId="{25C6065B-0776-4E92-8A73-41B7AE73C71D}" srcOrd="2" destOrd="0" presId="urn:microsoft.com/office/officeart/2005/8/layout/hProcess4"/>
    <dgm:cxn modelId="{4A3FC6CE-FD72-4480-A926-B166B7F81D21}" type="presParOf" srcId="{4D8A482F-4A51-475E-A935-28EDA7D7BD18}" destId="{DAB7F219-9FA0-4EEA-ABD3-888646C41790}" srcOrd="3" destOrd="0" presId="urn:microsoft.com/office/officeart/2005/8/layout/hProcess4"/>
    <dgm:cxn modelId="{6B65AB5C-CC86-44B0-A133-E208B0E0ABFC}" type="presParOf" srcId="{4D8A482F-4A51-475E-A935-28EDA7D7BD18}" destId="{28F5F681-9985-4089-BE97-2CE16224DA97}" srcOrd="4" destOrd="0" presId="urn:microsoft.com/office/officeart/2005/8/layout/hProcess4"/>
    <dgm:cxn modelId="{C89A696E-B8FB-4D8E-9A46-1069754BE95D}" type="presParOf" srcId="{E117986C-E4A7-4D54-8A3E-786ED9A6DF48}" destId="{B6BB9137-DEBD-4D91-8ABE-9C8B885E1ED1}" srcOrd="1" destOrd="0" presId="urn:microsoft.com/office/officeart/2005/8/layout/hProcess4"/>
    <dgm:cxn modelId="{8A2849FC-B2B9-4ACB-86E3-6B82E587E0FA}" type="presParOf" srcId="{E117986C-E4A7-4D54-8A3E-786ED9A6DF48}" destId="{3B1C3896-BA29-4EA0-83F8-B70CA8735928}" srcOrd="2" destOrd="0" presId="urn:microsoft.com/office/officeart/2005/8/layout/hProcess4"/>
    <dgm:cxn modelId="{8B7B819B-9B21-4A4A-95F9-0C50C451509B}" type="presParOf" srcId="{3B1C3896-BA29-4EA0-83F8-B70CA8735928}" destId="{869ECCE4-13A1-48AA-AFE3-A9F63DCFDC51}" srcOrd="0" destOrd="0" presId="urn:microsoft.com/office/officeart/2005/8/layout/hProcess4"/>
    <dgm:cxn modelId="{DE6817A3-4508-4AA3-963D-6B560E8A6BDC}" type="presParOf" srcId="{3B1C3896-BA29-4EA0-83F8-B70CA8735928}" destId="{E3981F0C-AE77-4EDC-AE56-309F485C8A7D}" srcOrd="1" destOrd="0" presId="urn:microsoft.com/office/officeart/2005/8/layout/hProcess4"/>
    <dgm:cxn modelId="{990F5308-A20D-4B5C-AD6A-FF446FBABE78}" type="presParOf" srcId="{3B1C3896-BA29-4EA0-83F8-B70CA8735928}" destId="{E73305FB-0159-4336-9953-3622D2C32E54}" srcOrd="2" destOrd="0" presId="urn:microsoft.com/office/officeart/2005/8/layout/hProcess4"/>
    <dgm:cxn modelId="{D434D63C-AA5A-41E8-A3F6-96C5CE20A478}" type="presParOf" srcId="{3B1C3896-BA29-4EA0-83F8-B70CA8735928}" destId="{2E2EFA03-1453-4B0E-938F-548D59F943B0}" srcOrd="3" destOrd="0" presId="urn:microsoft.com/office/officeart/2005/8/layout/hProcess4"/>
    <dgm:cxn modelId="{C5C15B4A-2C31-4584-B4BE-336576F3B047}" type="presParOf" srcId="{3B1C3896-BA29-4EA0-83F8-B70CA8735928}" destId="{5C2F4814-7CD0-443F-9186-107BDF15E1C5}" srcOrd="4" destOrd="0" presId="urn:microsoft.com/office/officeart/2005/8/layout/hProcess4"/>
    <dgm:cxn modelId="{830669AF-6986-468E-83CC-5874979B5AF5}" type="presParOf" srcId="{E117986C-E4A7-4D54-8A3E-786ED9A6DF48}" destId="{57BC311A-8B7A-4AD7-A366-8D7525F5728E}" srcOrd="3" destOrd="0" presId="urn:microsoft.com/office/officeart/2005/8/layout/hProcess4"/>
    <dgm:cxn modelId="{5EC06662-5F26-40C8-A703-F48D13079CC7}" type="presParOf" srcId="{E117986C-E4A7-4D54-8A3E-786ED9A6DF48}" destId="{A09D32F3-C28E-42A9-B94A-9C67F1518BAB}" srcOrd="4" destOrd="0" presId="urn:microsoft.com/office/officeart/2005/8/layout/hProcess4"/>
    <dgm:cxn modelId="{C0BBA31D-7BBD-4DE2-B12D-60998DDB5D1D}" type="presParOf" srcId="{A09D32F3-C28E-42A9-B94A-9C67F1518BAB}" destId="{49D0775D-32AB-45F3-BF0E-9393656532CC}" srcOrd="0" destOrd="0" presId="urn:microsoft.com/office/officeart/2005/8/layout/hProcess4"/>
    <dgm:cxn modelId="{BFAF3D2F-5A52-48D2-BC05-7672DF17C1C5}" type="presParOf" srcId="{A09D32F3-C28E-42A9-B94A-9C67F1518BAB}" destId="{DCE68B8E-3F08-4C34-AAB8-640BFDC66FE2}" srcOrd="1" destOrd="0" presId="urn:microsoft.com/office/officeart/2005/8/layout/hProcess4"/>
    <dgm:cxn modelId="{4D7A6055-7D83-40BD-9BF7-91647F5786DF}" type="presParOf" srcId="{A09D32F3-C28E-42A9-B94A-9C67F1518BAB}" destId="{C96C8407-BD6C-4A69-B772-12897FC6CE30}" srcOrd="2" destOrd="0" presId="urn:microsoft.com/office/officeart/2005/8/layout/hProcess4"/>
    <dgm:cxn modelId="{BF546AA5-04D5-4DCA-8561-4F4A8936C6F6}" type="presParOf" srcId="{A09D32F3-C28E-42A9-B94A-9C67F1518BAB}" destId="{EA5614F8-E1C1-4F94-83BE-BDFE0A04E483}" srcOrd="3" destOrd="0" presId="urn:microsoft.com/office/officeart/2005/8/layout/hProcess4"/>
    <dgm:cxn modelId="{9BB69815-7B87-4909-B98C-5626D20D7E04}" type="presParOf" srcId="{A09D32F3-C28E-42A9-B94A-9C67F1518BAB}" destId="{D5D7E067-8562-4E4E-9BA6-E149A187CF3A}" srcOrd="4" destOrd="0" presId="urn:microsoft.com/office/officeart/2005/8/layout/hProcess4"/>
    <dgm:cxn modelId="{DD5D8F63-3EB0-461B-8233-3B95A3F6278D}" type="presParOf" srcId="{E117986C-E4A7-4D54-8A3E-786ED9A6DF48}" destId="{04E1BB3B-46AA-4E11-9D6B-24A91198B02D}" srcOrd="5" destOrd="0" presId="urn:microsoft.com/office/officeart/2005/8/layout/hProcess4"/>
    <dgm:cxn modelId="{06F7BE5D-EE48-4B0C-924C-1B1379C5A305}" type="presParOf" srcId="{E117986C-E4A7-4D54-8A3E-786ED9A6DF48}" destId="{70F35AC9-87E7-4412-9B08-E2ACAEE0B8C2}" srcOrd="6" destOrd="0" presId="urn:microsoft.com/office/officeart/2005/8/layout/hProcess4"/>
    <dgm:cxn modelId="{0438F0D1-62BB-4514-A5FB-0658A63DE6D2}" type="presParOf" srcId="{70F35AC9-87E7-4412-9B08-E2ACAEE0B8C2}" destId="{7066E659-793B-4903-9E71-9A805D655258}" srcOrd="0" destOrd="0" presId="urn:microsoft.com/office/officeart/2005/8/layout/hProcess4"/>
    <dgm:cxn modelId="{E08DBC32-DFEB-4F33-A4CA-70A4415CF8F4}" type="presParOf" srcId="{70F35AC9-87E7-4412-9B08-E2ACAEE0B8C2}" destId="{7499DB9F-5883-4BF3-BA88-0AA0375203CE}" srcOrd="1" destOrd="0" presId="urn:microsoft.com/office/officeart/2005/8/layout/hProcess4"/>
    <dgm:cxn modelId="{765C1E27-E7FB-4C6B-9F3E-EF0B33DBE322}" type="presParOf" srcId="{70F35AC9-87E7-4412-9B08-E2ACAEE0B8C2}" destId="{267D03D7-6193-43BF-82E4-2602305847C6}" srcOrd="2" destOrd="0" presId="urn:microsoft.com/office/officeart/2005/8/layout/hProcess4"/>
    <dgm:cxn modelId="{0BDAEFFC-93FD-4FB1-9C12-D4E9788EEDE9}" type="presParOf" srcId="{70F35AC9-87E7-4412-9B08-E2ACAEE0B8C2}" destId="{A29F68A5-ADBE-4599-99DF-D8525FB412D6}" srcOrd="3" destOrd="0" presId="urn:microsoft.com/office/officeart/2005/8/layout/hProcess4"/>
    <dgm:cxn modelId="{984A673C-9CE8-49C9-85D4-A2074194670B}" type="presParOf" srcId="{70F35AC9-87E7-4412-9B08-E2ACAEE0B8C2}" destId="{E0B32A55-3030-4219-9E34-7F499A6C43AE}" srcOrd="4" destOrd="0" presId="urn:microsoft.com/office/officeart/2005/8/layout/hProcess4"/>
    <dgm:cxn modelId="{41822574-E422-481B-9816-A70AE9062412}" type="presParOf" srcId="{E117986C-E4A7-4D54-8A3E-786ED9A6DF48}" destId="{1202A32C-2B3E-4A78-BD32-4855EBA62791}" srcOrd="7" destOrd="0" presId="urn:microsoft.com/office/officeart/2005/8/layout/hProcess4"/>
    <dgm:cxn modelId="{6592E56C-C7D2-43B4-86C6-B17C4DCC6340}" type="presParOf" srcId="{E117986C-E4A7-4D54-8A3E-786ED9A6DF48}" destId="{90A452D1-E2F7-4F93-9D01-9D09238FEACD}" srcOrd="8" destOrd="0" presId="urn:microsoft.com/office/officeart/2005/8/layout/hProcess4"/>
    <dgm:cxn modelId="{EC55E873-8CAE-4EE8-9419-EE6EC3DACC68}" type="presParOf" srcId="{90A452D1-E2F7-4F93-9D01-9D09238FEACD}" destId="{A8B53B43-2AB6-4E7C-A914-76515957E354}" srcOrd="0" destOrd="0" presId="urn:microsoft.com/office/officeart/2005/8/layout/hProcess4"/>
    <dgm:cxn modelId="{402E89D0-4153-4EB5-9DCD-DFF9696A7E9C}" type="presParOf" srcId="{90A452D1-E2F7-4F93-9D01-9D09238FEACD}" destId="{FD588A91-540A-4297-91B7-095A7B34956E}" srcOrd="1" destOrd="0" presId="urn:microsoft.com/office/officeart/2005/8/layout/hProcess4"/>
    <dgm:cxn modelId="{7B706CF7-2680-4B86-B927-3C88D12D2DB1}" type="presParOf" srcId="{90A452D1-E2F7-4F93-9D01-9D09238FEACD}" destId="{943D07B2-9FA0-437D-BCBF-4974D5860950}" srcOrd="2" destOrd="0" presId="urn:microsoft.com/office/officeart/2005/8/layout/hProcess4"/>
    <dgm:cxn modelId="{DE2206A8-814B-44A7-B457-3B7A0A5E5750}" type="presParOf" srcId="{90A452D1-E2F7-4F93-9D01-9D09238FEACD}" destId="{909CAA43-80FB-4049-B4D9-C958C24030FF}" srcOrd="3" destOrd="0" presId="urn:microsoft.com/office/officeart/2005/8/layout/hProcess4"/>
    <dgm:cxn modelId="{CD53164A-2AF1-4BB9-9EC9-E38619CEECBD}" type="presParOf" srcId="{90A452D1-E2F7-4F93-9D01-9D09238FEACD}" destId="{71C538DC-B68E-485D-8D1B-5F1765210CC2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0EF2F08-1EFD-40E2-A6A8-38BE87EEF651}" type="doc">
      <dgm:prSet loTypeId="urn:microsoft.com/office/officeart/2009/3/layout/SubStepProcess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4F8AA54F-A86F-4082-A0A0-8D23ACD831CE}">
      <dgm:prSet phldrT="[文本]" custT="1"/>
      <dgm:spPr/>
      <dgm:t>
        <a:bodyPr/>
        <a:lstStyle/>
        <a:p>
          <a:r>
            <a:rPr lang="zh-CN" altLang="en-US" sz="18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照明模式</a:t>
          </a:r>
          <a:endParaRPr lang="zh-CN" altLang="en-US" sz="18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026E46B-2007-4832-ACA2-F47CEFA33E5B}" type="parTrans" cxnId="{C562D9BC-3E86-44DB-A31C-83FA4EF35989}">
      <dgm:prSet/>
      <dgm:spPr/>
      <dgm:t>
        <a:bodyPr/>
        <a:lstStyle/>
        <a:p>
          <a:endParaRPr lang="zh-CN" altLang="en-US"/>
        </a:p>
      </dgm:t>
    </dgm:pt>
    <dgm:pt modelId="{FDF2EB94-FF54-41F9-AC25-DF0E27E03B2A}" type="sibTrans" cxnId="{C562D9BC-3E86-44DB-A31C-83FA4EF35989}">
      <dgm:prSet/>
      <dgm:spPr/>
      <dgm:t>
        <a:bodyPr/>
        <a:lstStyle/>
        <a:p>
          <a:endParaRPr lang="zh-CN" altLang="en-US"/>
        </a:p>
      </dgm:t>
    </dgm:pt>
    <dgm:pt modelId="{6FE3CBF4-F8C7-47BF-A92D-89CDE86B918F}">
      <dgm:prSet phldrT="[文本]" custT="1"/>
      <dgm:spPr/>
      <dgm:t>
        <a:bodyPr/>
        <a:lstStyle/>
        <a:p>
          <a:r>
            <a:rPr lang="zh-CN" altLang="en-US" sz="18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净化模式</a:t>
          </a:r>
          <a:endParaRPr lang="zh-CN" altLang="en-US" sz="18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8FA132D-2F0C-4768-B94D-48C6E0043955}" type="parTrans" cxnId="{158D41C6-313B-4280-B4A6-3E71A294BD39}">
      <dgm:prSet/>
      <dgm:spPr/>
      <dgm:t>
        <a:bodyPr/>
        <a:lstStyle/>
        <a:p>
          <a:endParaRPr lang="zh-CN" altLang="en-US"/>
        </a:p>
      </dgm:t>
    </dgm:pt>
    <dgm:pt modelId="{8A74E0BB-2865-4C7A-99B0-D32B0F382970}" type="sibTrans" cxnId="{158D41C6-313B-4280-B4A6-3E71A294BD39}">
      <dgm:prSet/>
      <dgm:spPr/>
      <dgm:t>
        <a:bodyPr/>
        <a:lstStyle/>
        <a:p>
          <a:endParaRPr lang="zh-CN" altLang="en-US"/>
        </a:p>
      </dgm:t>
    </dgm:pt>
    <dgm:pt modelId="{FD3490FD-FCA6-42E9-91E1-19990DEA696D}">
      <dgm:prSet phldrT="[文本]"/>
      <dgm:spPr/>
      <dgm:t>
        <a:bodyPr/>
        <a:lstStyle/>
        <a:p>
          <a:r>
            <a:rPr lang="en-US" altLang="zh-CN" dirty="0" smtClean="0"/>
            <a:t> </a:t>
          </a:r>
          <a:endParaRPr lang="zh-CN" altLang="en-US" dirty="0"/>
        </a:p>
      </dgm:t>
    </dgm:pt>
    <dgm:pt modelId="{A4D1D7D3-0D80-4AF9-8650-CACA2A6DDE64}" type="parTrans" cxnId="{FCE783B1-CFF0-404D-BEDF-A34CB50698F6}">
      <dgm:prSet/>
      <dgm:spPr/>
      <dgm:t>
        <a:bodyPr/>
        <a:lstStyle/>
        <a:p>
          <a:endParaRPr lang="zh-CN" altLang="en-US"/>
        </a:p>
      </dgm:t>
    </dgm:pt>
    <dgm:pt modelId="{E1BC1E84-2AD9-4B08-8ECB-E2318C669A36}" type="sibTrans" cxnId="{FCE783B1-CFF0-404D-BEDF-A34CB50698F6}">
      <dgm:prSet/>
      <dgm:spPr/>
      <dgm:t>
        <a:bodyPr/>
        <a:lstStyle/>
        <a:p>
          <a:endParaRPr lang="zh-CN" altLang="en-US"/>
        </a:p>
      </dgm:t>
    </dgm:pt>
    <dgm:pt modelId="{BA1B1983-DDFF-466B-B109-7F44B37FAE89}">
      <dgm:prSet phldrT="[文本]" custT="1"/>
      <dgm:spPr/>
      <dgm:t>
        <a:bodyPr/>
        <a:lstStyle/>
        <a:p>
          <a:r>
            <a:rPr lang="zh-CN" altLang="en-US" sz="18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制冷模式</a:t>
          </a:r>
          <a:endParaRPr lang="zh-CN" altLang="en-US" sz="18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AC11E5C-2487-4376-8A10-F2C162E921FB}" type="parTrans" cxnId="{052BBA54-1437-474C-8CAE-C3767E33DEB8}">
      <dgm:prSet/>
      <dgm:spPr/>
      <dgm:t>
        <a:bodyPr/>
        <a:lstStyle/>
        <a:p>
          <a:endParaRPr lang="zh-CN" altLang="en-US"/>
        </a:p>
      </dgm:t>
    </dgm:pt>
    <dgm:pt modelId="{A3950BCF-DA25-49D0-BCB1-0570DCB221A1}" type="sibTrans" cxnId="{052BBA54-1437-474C-8CAE-C3767E33DEB8}">
      <dgm:prSet/>
      <dgm:spPr/>
      <dgm:t>
        <a:bodyPr/>
        <a:lstStyle/>
        <a:p>
          <a:endParaRPr lang="zh-CN" altLang="en-US"/>
        </a:p>
      </dgm:t>
    </dgm:pt>
    <dgm:pt modelId="{61C0B668-48D8-48DA-B683-CE5116E42937}">
      <dgm:prSet phldrT="[文本]"/>
      <dgm:spPr/>
      <dgm:t>
        <a:bodyPr/>
        <a:lstStyle/>
        <a:p>
          <a:endParaRPr lang="zh-CN" altLang="en-US" dirty="0"/>
        </a:p>
      </dgm:t>
    </dgm:pt>
    <dgm:pt modelId="{34DF0308-F9D3-4E9B-902E-5D89447CFF18}" type="parTrans" cxnId="{ECADE30C-F5AD-44DC-BBB9-B47EEA97A3FA}">
      <dgm:prSet/>
      <dgm:spPr/>
      <dgm:t>
        <a:bodyPr/>
        <a:lstStyle/>
        <a:p>
          <a:endParaRPr lang="zh-CN" altLang="en-US"/>
        </a:p>
      </dgm:t>
    </dgm:pt>
    <dgm:pt modelId="{F5D90864-BE6E-4D9B-AE68-41E35D860507}" type="sibTrans" cxnId="{ECADE30C-F5AD-44DC-BBB9-B47EEA97A3FA}">
      <dgm:prSet/>
      <dgm:spPr/>
      <dgm:t>
        <a:bodyPr/>
        <a:lstStyle/>
        <a:p>
          <a:endParaRPr lang="zh-CN" altLang="en-US"/>
        </a:p>
      </dgm:t>
    </dgm:pt>
    <dgm:pt modelId="{5E57DE60-283F-4A7A-BD9B-8640ADEA1F8A}">
      <dgm:prSet phldrT="[文本]"/>
      <dgm:spPr/>
      <dgm:t>
        <a:bodyPr/>
        <a:lstStyle/>
        <a:p>
          <a:pPr algn="l"/>
          <a:endParaRPr lang="zh-CN" altLang="en-US" dirty="0"/>
        </a:p>
      </dgm:t>
    </dgm:pt>
    <dgm:pt modelId="{4B4D29EE-2B75-4A4A-9DBD-57B1E0C0A2B3}" type="sibTrans" cxnId="{97DD2D53-8BF3-43DA-89E2-5A45F25DEB58}">
      <dgm:prSet/>
      <dgm:spPr/>
      <dgm:t>
        <a:bodyPr/>
        <a:lstStyle/>
        <a:p>
          <a:endParaRPr lang="zh-CN" altLang="en-US"/>
        </a:p>
      </dgm:t>
    </dgm:pt>
    <dgm:pt modelId="{0D22F994-30F3-4A23-BFB6-385E3FE5FD90}" type="parTrans" cxnId="{97DD2D53-8BF3-43DA-89E2-5A45F25DEB58}">
      <dgm:prSet/>
      <dgm:spPr/>
      <dgm:t>
        <a:bodyPr/>
        <a:lstStyle/>
        <a:p>
          <a:endParaRPr lang="zh-CN" altLang="en-US"/>
        </a:p>
      </dgm:t>
    </dgm:pt>
    <dgm:pt modelId="{3AF6BEC5-CFA5-4799-81D2-9BBF1C786885}">
      <dgm:prSet phldrT="[文本]"/>
      <dgm:spPr/>
      <dgm:t>
        <a:bodyPr/>
        <a:lstStyle/>
        <a:p>
          <a:r>
            <a:rPr lang="en-US" altLang="zh-CN" dirty="0" smtClean="0"/>
            <a:t>…</a:t>
          </a:r>
          <a:endParaRPr lang="zh-CN" altLang="en-US" dirty="0"/>
        </a:p>
      </dgm:t>
    </dgm:pt>
    <dgm:pt modelId="{72085320-1FB1-42A8-9249-05A310726C9A}" type="sibTrans" cxnId="{ACD33916-79E6-48BF-9927-EB4407626DA5}">
      <dgm:prSet/>
      <dgm:spPr/>
      <dgm:t>
        <a:bodyPr/>
        <a:lstStyle/>
        <a:p>
          <a:endParaRPr lang="zh-CN" altLang="en-US"/>
        </a:p>
      </dgm:t>
    </dgm:pt>
    <dgm:pt modelId="{3105B9EA-B6F1-4D6F-9E9A-32BC10819CCD}" type="parTrans" cxnId="{ACD33916-79E6-48BF-9927-EB4407626DA5}">
      <dgm:prSet/>
      <dgm:spPr/>
      <dgm:t>
        <a:bodyPr/>
        <a:lstStyle/>
        <a:p>
          <a:endParaRPr lang="zh-CN" altLang="en-US"/>
        </a:p>
      </dgm:t>
    </dgm:pt>
    <dgm:pt modelId="{ADB2D5DB-FF98-4CE1-AF70-7CB181122B69}">
      <dgm:prSet phldrT="[文本]" custScaleX="42721" custScaleY="42721"/>
      <dgm:spPr/>
      <dgm:t>
        <a:bodyPr/>
        <a:lstStyle/>
        <a:p>
          <a:endParaRPr lang="zh-CN" altLang="en-US"/>
        </a:p>
      </dgm:t>
    </dgm:pt>
    <dgm:pt modelId="{FEED5678-F224-4AC3-BCED-E78C24F7E55D}" type="parTrans" cxnId="{58AC15E8-F62B-4A43-AE53-82130E1BDE23}">
      <dgm:prSet/>
      <dgm:spPr/>
      <dgm:t>
        <a:bodyPr/>
        <a:lstStyle/>
        <a:p>
          <a:endParaRPr lang="zh-CN" altLang="en-US"/>
        </a:p>
      </dgm:t>
    </dgm:pt>
    <dgm:pt modelId="{A53CDDC4-7A90-4EA8-B84B-20955FA616B5}" type="sibTrans" cxnId="{58AC15E8-F62B-4A43-AE53-82130E1BDE23}">
      <dgm:prSet/>
      <dgm:spPr/>
      <dgm:t>
        <a:bodyPr/>
        <a:lstStyle/>
        <a:p>
          <a:endParaRPr lang="zh-CN" altLang="en-US"/>
        </a:p>
      </dgm:t>
    </dgm:pt>
    <dgm:pt modelId="{B4EE153C-B597-4F16-A767-4D5F8BF1FE05}" type="pres">
      <dgm:prSet presAssocID="{F0EF2F08-1EFD-40E2-A6A8-38BE87EEF651}" presName="Name0" presStyleCnt="0">
        <dgm:presLayoutVars>
          <dgm:chMax val="7"/>
          <dgm:dir/>
          <dgm:animOne val="branch"/>
        </dgm:presLayoutVars>
      </dgm:prSet>
      <dgm:spPr/>
      <dgm:t>
        <a:bodyPr/>
        <a:lstStyle/>
        <a:p>
          <a:endParaRPr lang="zh-CN" altLang="en-US"/>
        </a:p>
      </dgm:t>
    </dgm:pt>
    <dgm:pt modelId="{1EADBCA0-0578-4875-9EE8-79041AE2CE7F}" type="pres">
      <dgm:prSet presAssocID="{3AF6BEC5-CFA5-4799-81D2-9BBF1C786885}" presName="parTx1" presStyleLbl="node1" presStyleIdx="0" presStyleCnt="7" custScaleX="22295" custScaleY="22295" custLinFactNeighborX="64639"/>
      <dgm:spPr/>
      <dgm:t>
        <a:bodyPr/>
        <a:lstStyle/>
        <a:p>
          <a:endParaRPr lang="zh-CN" altLang="en-US"/>
        </a:p>
      </dgm:t>
    </dgm:pt>
    <dgm:pt modelId="{2645AA87-9D89-49DD-B621-3F5D6F143FD8}" type="pres">
      <dgm:prSet presAssocID="{5E57DE60-283F-4A7A-BD9B-8640ADEA1F8A}" presName="parTx2" presStyleLbl="node1" presStyleIdx="1" presStyleCnt="7" custScaleX="42721" custScaleY="42721" custLinFactNeighborX="-38722" custLinFactNeighborY="-1705"/>
      <dgm:spPr/>
      <dgm:t>
        <a:bodyPr/>
        <a:lstStyle/>
        <a:p>
          <a:endParaRPr lang="zh-CN" altLang="en-US"/>
        </a:p>
      </dgm:t>
    </dgm:pt>
    <dgm:pt modelId="{C6EB4829-7589-447A-8D3E-C1843E00B2C2}" type="pres">
      <dgm:prSet presAssocID="{4F8AA54F-A86F-4082-A0A0-8D23ACD831CE}" presName="parTx3" presStyleLbl="node1" presStyleIdx="2" presStyleCnt="7" custLinFactNeighborX="-21211"/>
      <dgm:spPr/>
      <dgm:t>
        <a:bodyPr/>
        <a:lstStyle/>
        <a:p>
          <a:endParaRPr lang="zh-CN" altLang="en-US"/>
        </a:p>
      </dgm:t>
    </dgm:pt>
    <dgm:pt modelId="{BB944FBC-3BEA-48F5-B354-C9A190447CA6}" type="pres">
      <dgm:prSet presAssocID="{61C0B668-48D8-48DA-B683-CE5116E42937}" presName="parTx4" presStyleLbl="node1" presStyleIdx="3" presStyleCnt="7" custScaleX="42721" custScaleY="42721" custLinFactNeighborX="-14682" custLinFactNeighborY="0"/>
      <dgm:spPr/>
      <dgm:t>
        <a:bodyPr/>
        <a:lstStyle/>
        <a:p>
          <a:endParaRPr lang="zh-CN" altLang="en-US"/>
        </a:p>
      </dgm:t>
    </dgm:pt>
    <dgm:pt modelId="{0C40BDF1-C56D-48FB-BEEB-F8345B6252A7}" type="pres">
      <dgm:prSet presAssocID="{6FE3CBF4-F8C7-47BF-A92D-89CDE86B918F}" presName="parTx5" presStyleLbl="node1" presStyleIdx="4" presStyleCnt="7" custLinFactNeighborX="-7934"/>
      <dgm:spPr/>
      <dgm:t>
        <a:bodyPr/>
        <a:lstStyle/>
        <a:p>
          <a:endParaRPr lang="zh-CN" altLang="en-US"/>
        </a:p>
      </dgm:t>
    </dgm:pt>
    <dgm:pt modelId="{28F96C13-A107-4499-894A-37011DA0B390}" type="pres">
      <dgm:prSet presAssocID="{FD3490FD-FCA6-42E9-91E1-19990DEA696D}" presName="parTx6" presStyleLbl="node1" presStyleIdx="5" presStyleCnt="7" custScaleX="42721" custScaleY="42721"/>
      <dgm:spPr/>
      <dgm:t>
        <a:bodyPr/>
        <a:lstStyle/>
        <a:p>
          <a:endParaRPr lang="zh-CN" altLang="en-US"/>
        </a:p>
      </dgm:t>
    </dgm:pt>
    <dgm:pt modelId="{9E95B8A4-0814-4730-94C5-15BE3231FBF5}" type="pres">
      <dgm:prSet presAssocID="{BA1B1983-DDFF-466B-B109-7F44B37FAE89}" presName="parTx7" presStyleLbl="node1" presStyleIdx="6" presStyleCnt="7" custLinFactNeighborX="12242"/>
      <dgm:spPr/>
      <dgm:t>
        <a:bodyPr/>
        <a:lstStyle/>
        <a:p>
          <a:endParaRPr lang="zh-CN" altLang="en-US"/>
        </a:p>
      </dgm:t>
    </dgm:pt>
  </dgm:ptLst>
  <dgm:cxnLst>
    <dgm:cxn modelId="{75944B6B-0670-44E3-BC44-EA92EEF7691A}" type="presOf" srcId="{6FE3CBF4-F8C7-47BF-A92D-89CDE86B918F}" destId="{0C40BDF1-C56D-48FB-BEEB-F8345B6252A7}" srcOrd="0" destOrd="0" presId="urn:microsoft.com/office/officeart/2009/3/layout/SubStepProcess"/>
    <dgm:cxn modelId="{829AB711-A028-4D4F-B0D4-41247BC2BFDE}" type="presOf" srcId="{61C0B668-48D8-48DA-B683-CE5116E42937}" destId="{BB944FBC-3BEA-48F5-B354-C9A190447CA6}" srcOrd="0" destOrd="0" presId="urn:microsoft.com/office/officeart/2009/3/layout/SubStepProcess"/>
    <dgm:cxn modelId="{4E8151E4-0D00-4EA0-A8D4-6FAEE22CBB88}" type="presOf" srcId="{3AF6BEC5-CFA5-4799-81D2-9BBF1C786885}" destId="{1EADBCA0-0578-4875-9EE8-79041AE2CE7F}" srcOrd="0" destOrd="0" presId="urn:microsoft.com/office/officeart/2009/3/layout/SubStepProcess"/>
    <dgm:cxn modelId="{58AC15E8-F62B-4A43-AE53-82130E1BDE23}" srcId="{F0EF2F08-1EFD-40E2-A6A8-38BE87EEF651}" destId="{ADB2D5DB-FF98-4CE1-AF70-7CB181122B69}" srcOrd="7" destOrd="0" parTransId="{FEED5678-F224-4AC3-BCED-E78C24F7E55D}" sibTransId="{A53CDDC4-7A90-4EA8-B84B-20955FA616B5}"/>
    <dgm:cxn modelId="{B39928AC-4C48-42E4-9EAF-D1CB0EEFE3FE}" type="presOf" srcId="{BA1B1983-DDFF-466B-B109-7F44B37FAE89}" destId="{9E95B8A4-0814-4730-94C5-15BE3231FBF5}" srcOrd="0" destOrd="0" presId="urn:microsoft.com/office/officeart/2009/3/layout/SubStepProcess"/>
    <dgm:cxn modelId="{97DD2D53-8BF3-43DA-89E2-5A45F25DEB58}" srcId="{F0EF2F08-1EFD-40E2-A6A8-38BE87EEF651}" destId="{5E57DE60-283F-4A7A-BD9B-8640ADEA1F8A}" srcOrd="1" destOrd="0" parTransId="{0D22F994-30F3-4A23-BFB6-385E3FE5FD90}" sibTransId="{4B4D29EE-2B75-4A4A-9DBD-57B1E0C0A2B3}"/>
    <dgm:cxn modelId="{226006AD-8FC9-4CED-BAF0-60A7ACD9A893}" type="presOf" srcId="{5E57DE60-283F-4A7A-BD9B-8640ADEA1F8A}" destId="{2645AA87-9D89-49DD-B621-3F5D6F143FD8}" srcOrd="0" destOrd="0" presId="urn:microsoft.com/office/officeart/2009/3/layout/SubStepProcess"/>
    <dgm:cxn modelId="{052BBA54-1437-474C-8CAE-C3767E33DEB8}" srcId="{F0EF2F08-1EFD-40E2-A6A8-38BE87EEF651}" destId="{BA1B1983-DDFF-466B-B109-7F44B37FAE89}" srcOrd="6" destOrd="0" parTransId="{1AC11E5C-2487-4376-8A10-F2C162E921FB}" sibTransId="{A3950BCF-DA25-49D0-BCB1-0570DCB221A1}"/>
    <dgm:cxn modelId="{ACD33916-79E6-48BF-9927-EB4407626DA5}" srcId="{F0EF2F08-1EFD-40E2-A6A8-38BE87EEF651}" destId="{3AF6BEC5-CFA5-4799-81D2-9BBF1C786885}" srcOrd="0" destOrd="0" parTransId="{3105B9EA-B6F1-4D6F-9E9A-32BC10819CCD}" sibTransId="{72085320-1FB1-42A8-9249-05A310726C9A}"/>
    <dgm:cxn modelId="{FCE783B1-CFF0-404D-BEDF-A34CB50698F6}" srcId="{F0EF2F08-1EFD-40E2-A6A8-38BE87EEF651}" destId="{FD3490FD-FCA6-42E9-91E1-19990DEA696D}" srcOrd="5" destOrd="0" parTransId="{A4D1D7D3-0D80-4AF9-8650-CACA2A6DDE64}" sibTransId="{E1BC1E84-2AD9-4B08-8ECB-E2318C669A36}"/>
    <dgm:cxn modelId="{E8AFD76D-8058-4AB4-8A27-0628C644B043}" type="presOf" srcId="{F0EF2F08-1EFD-40E2-A6A8-38BE87EEF651}" destId="{B4EE153C-B597-4F16-A767-4D5F8BF1FE05}" srcOrd="0" destOrd="0" presId="urn:microsoft.com/office/officeart/2009/3/layout/SubStepProcess"/>
    <dgm:cxn modelId="{C562D9BC-3E86-44DB-A31C-83FA4EF35989}" srcId="{F0EF2F08-1EFD-40E2-A6A8-38BE87EEF651}" destId="{4F8AA54F-A86F-4082-A0A0-8D23ACD831CE}" srcOrd="2" destOrd="0" parTransId="{5026E46B-2007-4832-ACA2-F47CEFA33E5B}" sibTransId="{FDF2EB94-FF54-41F9-AC25-DF0E27E03B2A}"/>
    <dgm:cxn modelId="{898823E2-858B-44F2-B200-11DE9E7B1E87}" type="presOf" srcId="{FD3490FD-FCA6-42E9-91E1-19990DEA696D}" destId="{28F96C13-A107-4499-894A-37011DA0B390}" srcOrd="0" destOrd="0" presId="urn:microsoft.com/office/officeart/2009/3/layout/SubStepProcess"/>
    <dgm:cxn modelId="{158D41C6-313B-4280-B4A6-3E71A294BD39}" srcId="{F0EF2F08-1EFD-40E2-A6A8-38BE87EEF651}" destId="{6FE3CBF4-F8C7-47BF-A92D-89CDE86B918F}" srcOrd="4" destOrd="0" parTransId="{A8FA132D-2F0C-4768-B94D-48C6E0043955}" sibTransId="{8A74E0BB-2865-4C7A-99B0-D32B0F382970}"/>
    <dgm:cxn modelId="{AC417203-7076-4015-8669-CE5DBB5DB2DF}" type="presOf" srcId="{4F8AA54F-A86F-4082-A0A0-8D23ACD831CE}" destId="{C6EB4829-7589-447A-8D3E-C1843E00B2C2}" srcOrd="0" destOrd="0" presId="urn:microsoft.com/office/officeart/2009/3/layout/SubStepProcess"/>
    <dgm:cxn modelId="{ECADE30C-F5AD-44DC-BBB9-B47EEA97A3FA}" srcId="{F0EF2F08-1EFD-40E2-A6A8-38BE87EEF651}" destId="{61C0B668-48D8-48DA-B683-CE5116E42937}" srcOrd="3" destOrd="0" parTransId="{34DF0308-F9D3-4E9B-902E-5D89447CFF18}" sibTransId="{F5D90864-BE6E-4D9B-AE68-41E35D860507}"/>
    <dgm:cxn modelId="{E94C698F-9CDA-4F34-82CE-FF69EE8A18C0}" type="presParOf" srcId="{B4EE153C-B597-4F16-A767-4D5F8BF1FE05}" destId="{1EADBCA0-0578-4875-9EE8-79041AE2CE7F}" srcOrd="0" destOrd="0" presId="urn:microsoft.com/office/officeart/2009/3/layout/SubStepProcess"/>
    <dgm:cxn modelId="{6E4645C8-C359-4C6D-94EA-BE66F909C606}" type="presParOf" srcId="{B4EE153C-B597-4F16-A767-4D5F8BF1FE05}" destId="{2645AA87-9D89-49DD-B621-3F5D6F143FD8}" srcOrd="1" destOrd="0" presId="urn:microsoft.com/office/officeart/2009/3/layout/SubStepProcess"/>
    <dgm:cxn modelId="{C80B260E-96FA-44C6-BA7C-2B7B4FAE7324}" type="presParOf" srcId="{B4EE153C-B597-4F16-A767-4D5F8BF1FE05}" destId="{C6EB4829-7589-447A-8D3E-C1843E00B2C2}" srcOrd="2" destOrd="0" presId="urn:microsoft.com/office/officeart/2009/3/layout/SubStepProcess"/>
    <dgm:cxn modelId="{F61C2681-3BC3-430B-B5A7-2100D96FBA6B}" type="presParOf" srcId="{B4EE153C-B597-4F16-A767-4D5F8BF1FE05}" destId="{BB944FBC-3BEA-48F5-B354-C9A190447CA6}" srcOrd="3" destOrd="0" presId="urn:microsoft.com/office/officeart/2009/3/layout/SubStepProcess"/>
    <dgm:cxn modelId="{B40D1749-965B-4390-B99D-8D6C6F9AC244}" type="presParOf" srcId="{B4EE153C-B597-4F16-A767-4D5F8BF1FE05}" destId="{0C40BDF1-C56D-48FB-BEEB-F8345B6252A7}" srcOrd="4" destOrd="0" presId="urn:microsoft.com/office/officeart/2009/3/layout/SubStepProcess"/>
    <dgm:cxn modelId="{D4C727EC-B2E6-45A9-8E79-0DB4F333EB3B}" type="presParOf" srcId="{B4EE153C-B597-4F16-A767-4D5F8BF1FE05}" destId="{28F96C13-A107-4499-894A-37011DA0B390}" srcOrd="5" destOrd="0" presId="urn:microsoft.com/office/officeart/2009/3/layout/SubStepProcess"/>
    <dgm:cxn modelId="{833C163F-5D65-46E2-89D7-4D19C5C4FED4}" type="presParOf" srcId="{B4EE153C-B597-4F16-A767-4D5F8BF1FE05}" destId="{9E95B8A4-0814-4730-94C5-15BE3231FBF5}" srcOrd="6" destOrd="0" presId="urn:microsoft.com/office/officeart/2009/3/layout/SubSte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DD29B0E-9A4C-497E-9A63-393F47104213}" type="doc">
      <dgm:prSet loTypeId="urn:microsoft.com/office/officeart/2005/8/layout/cycle6" loCatId="cycle" qsTypeId="urn:microsoft.com/office/officeart/2005/8/quickstyle/simple4" qsCatId="simple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62957B8D-D07B-4F72-BEEF-E00C96EA12F9}">
      <dgm:prSet phldrT="[文本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一个</a:t>
          </a:r>
          <a:r>
            <a: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App</a:t>
          </a: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控制所有智能设备</a:t>
          </a:r>
          <a:endParaRPr lang="zh-CN" altLang="en-US" sz="1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C37A72B-0EDE-4B14-9274-83B4327E9D2D}" type="parTrans" cxnId="{5C060ED4-39A6-4C87-B6B1-7BEB5A0CBF23}">
      <dgm:prSet/>
      <dgm:spPr/>
      <dgm:t>
        <a:bodyPr/>
        <a:lstStyle/>
        <a:p>
          <a:endParaRPr lang="zh-CN" altLang="en-US"/>
        </a:p>
      </dgm:t>
    </dgm:pt>
    <dgm:pt modelId="{13500A83-C414-42FE-8121-F57AC4866E70}" type="sibTrans" cxnId="{5C060ED4-39A6-4C87-B6B1-7BEB5A0CBF23}">
      <dgm:prSet/>
      <dgm:spPr/>
      <dgm:t>
        <a:bodyPr/>
        <a:lstStyle/>
        <a:p>
          <a:endParaRPr lang="zh-CN" altLang="en-US"/>
        </a:p>
      </dgm:t>
    </dgm:pt>
    <dgm:pt modelId="{334FEC30-73FC-48A0-8434-83A472BA99D4}">
      <dgm:prSet phldrT="[文本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随时随地的</a:t>
          </a:r>
          <a:endParaRPr lang="en-US" altLang="zh-CN" sz="10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远程管理</a:t>
          </a:r>
          <a:endParaRPr lang="zh-CN" altLang="en-US" sz="1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20CA9D7-C1B1-46EF-AA11-CE750EBE162C}" type="parTrans" cxnId="{5DF9BA20-B61D-48E4-ADF2-5233C514CA96}">
      <dgm:prSet/>
      <dgm:spPr/>
      <dgm:t>
        <a:bodyPr/>
        <a:lstStyle/>
        <a:p>
          <a:endParaRPr lang="zh-CN" altLang="en-US"/>
        </a:p>
      </dgm:t>
    </dgm:pt>
    <dgm:pt modelId="{B8794A17-D7F2-479C-B1D1-82DB7AABADC2}" type="sibTrans" cxnId="{5DF9BA20-B61D-48E4-ADF2-5233C514CA96}">
      <dgm:prSet/>
      <dgm:spPr/>
      <dgm:t>
        <a:bodyPr/>
        <a:lstStyle/>
        <a:p>
          <a:endParaRPr lang="zh-CN" altLang="en-US"/>
        </a:p>
      </dgm:t>
    </dgm:pt>
    <dgm:pt modelId="{B57C503B-EDB7-44CE-9F38-34596B481F8A}">
      <dgm:prSet phldrT="[文本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众多穿戴设备的</a:t>
          </a:r>
          <a:endParaRPr lang="en-US" altLang="zh-CN" sz="10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接入健康档案生成</a:t>
          </a:r>
          <a:endParaRPr lang="zh-CN" altLang="en-US" sz="1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3E821E7-5B6B-4B19-8626-DD8199540476}" type="parTrans" cxnId="{EC347F5A-A49B-4BA0-BE58-170832D14F02}">
      <dgm:prSet/>
      <dgm:spPr/>
      <dgm:t>
        <a:bodyPr/>
        <a:lstStyle/>
        <a:p>
          <a:endParaRPr lang="zh-CN" altLang="en-US"/>
        </a:p>
      </dgm:t>
    </dgm:pt>
    <dgm:pt modelId="{5124076A-FA20-47AD-B0C1-11077B1FCD88}" type="sibTrans" cxnId="{EC347F5A-A49B-4BA0-BE58-170832D14F02}">
      <dgm:prSet/>
      <dgm:spPr/>
      <dgm:t>
        <a:bodyPr/>
        <a:lstStyle/>
        <a:p>
          <a:endParaRPr lang="zh-CN" altLang="en-US"/>
        </a:p>
      </dgm:t>
    </dgm:pt>
    <dgm:pt modelId="{3D88DCEB-9851-4A3B-B847-CD3D60E784D6}">
      <dgm:prSet phldrT="[文本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个人信息的云端存储与智能设备互动</a:t>
          </a:r>
          <a:endParaRPr lang="zh-CN" altLang="en-US" sz="1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63A7DF8-54B4-4E35-A54B-A7DFD573DA33}" type="parTrans" cxnId="{2546BD53-4F3D-42A0-8B21-976A0226EC7B}">
      <dgm:prSet/>
      <dgm:spPr/>
      <dgm:t>
        <a:bodyPr/>
        <a:lstStyle/>
        <a:p>
          <a:endParaRPr lang="zh-CN" altLang="en-US"/>
        </a:p>
      </dgm:t>
    </dgm:pt>
    <dgm:pt modelId="{2CF8049D-85CE-4773-8341-81840BAFD636}" type="sibTrans" cxnId="{2546BD53-4F3D-42A0-8B21-976A0226EC7B}">
      <dgm:prSet/>
      <dgm:spPr/>
      <dgm:t>
        <a:bodyPr/>
        <a:lstStyle/>
        <a:p>
          <a:endParaRPr lang="zh-CN" altLang="en-US"/>
        </a:p>
      </dgm:t>
    </dgm:pt>
    <dgm:pt modelId="{6ED882CB-72E0-418F-8317-B5E006D109C5}">
      <dgm:prSet phldrT="[文本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获取汽车车况信息和个人驾驶行为</a:t>
          </a:r>
          <a:endParaRPr lang="zh-CN" altLang="en-US" sz="1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CD9C55F-7E4D-4165-826E-A9192D27D6C9}" type="parTrans" cxnId="{90200C4A-DC56-4D80-880E-BC4F56EA792F}">
      <dgm:prSet/>
      <dgm:spPr/>
      <dgm:t>
        <a:bodyPr/>
        <a:lstStyle/>
        <a:p>
          <a:endParaRPr lang="zh-CN" altLang="en-US"/>
        </a:p>
      </dgm:t>
    </dgm:pt>
    <dgm:pt modelId="{2FF319EC-1F7E-42FB-83CF-7B35797CE9EC}" type="sibTrans" cxnId="{90200C4A-DC56-4D80-880E-BC4F56EA792F}">
      <dgm:prSet/>
      <dgm:spPr/>
      <dgm:t>
        <a:bodyPr/>
        <a:lstStyle/>
        <a:p>
          <a:endParaRPr lang="zh-CN" altLang="en-US"/>
        </a:p>
      </dgm:t>
    </dgm:pt>
    <dgm:pt modelId="{AA1124D0-011E-4D58-BBB4-88E9946D7615}">
      <dgm:prSet phldrT="[文本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便捷的智能设备</a:t>
          </a:r>
          <a:endParaRPr lang="en-US" altLang="zh-CN" sz="10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发现和配置</a:t>
          </a:r>
          <a:endParaRPr lang="zh-CN" altLang="en-US" sz="1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F4CC77D-D554-4FBC-8535-64EA7ADBF32D}" type="parTrans" cxnId="{AD6BAD31-A23C-4587-8E91-C99561243AF4}">
      <dgm:prSet/>
      <dgm:spPr/>
      <dgm:t>
        <a:bodyPr/>
        <a:lstStyle/>
        <a:p>
          <a:endParaRPr lang="zh-CN" altLang="en-US"/>
        </a:p>
      </dgm:t>
    </dgm:pt>
    <dgm:pt modelId="{5F2D7F1D-7751-48DE-ABF5-DBCE907EF733}" type="sibTrans" cxnId="{AD6BAD31-A23C-4587-8E91-C99561243AF4}">
      <dgm:prSet/>
      <dgm:spPr/>
      <dgm:t>
        <a:bodyPr/>
        <a:lstStyle/>
        <a:p>
          <a:endParaRPr lang="zh-CN" altLang="en-US"/>
        </a:p>
      </dgm:t>
    </dgm:pt>
    <dgm:pt modelId="{356B6ABF-67DC-44E9-B7D7-F36B24B24A61}">
      <dgm:prSet phldrT="[文本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不同设备的</a:t>
          </a:r>
          <a:endParaRPr lang="en-US" altLang="zh-CN" sz="10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状态自动感知</a:t>
          </a:r>
          <a:endParaRPr lang="en-US" altLang="zh-CN" sz="10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互联互通</a:t>
          </a:r>
          <a:endParaRPr lang="zh-CN" altLang="en-US" sz="1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F7E0930-6F0B-4ACC-A0D8-A93DBCE9E6F0}" type="parTrans" cxnId="{2CACF6F0-0DD5-489D-8875-5C6CE0318093}">
      <dgm:prSet/>
      <dgm:spPr/>
      <dgm:t>
        <a:bodyPr/>
        <a:lstStyle/>
        <a:p>
          <a:endParaRPr lang="zh-CN" altLang="en-US"/>
        </a:p>
      </dgm:t>
    </dgm:pt>
    <dgm:pt modelId="{9205858A-2B58-4E73-AF98-89BB2D93BA9C}" type="sibTrans" cxnId="{2CACF6F0-0DD5-489D-8875-5C6CE0318093}">
      <dgm:prSet/>
      <dgm:spPr/>
      <dgm:t>
        <a:bodyPr/>
        <a:lstStyle/>
        <a:p>
          <a:endParaRPr lang="zh-CN" altLang="en-US"/>
        </a:p>
      </dgm:t>
    </dgm:pt>
    <dgm:pt modelId="{BD67B12C-15AF-4C4A-B732-BD87276ED8CF}" type="pres">
      <dgm:prSet presAssocID="{0DD29B0E-9A4C-497E-9A63-393F47104213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ADF84B3-CE09-42D4-9EB7-58871428E1C2}" type="pres">
      <dgm:prSet presAssocID="{62957B8D-D07B-4F72-BEEF-E00C96EA12F9}" presName="node" presStyleLbl="node1" presStyleIdx="0" presStyleCnt="7" custRadScaleRad="100000" custRadScaleInc="7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C773761-DF9D-4B08-B343-EF8BD5D8466F}" type="pres">
      <dgm:prSet presAssocID="{62957B8D-D07B-4F72-BEEF-E00C96EA12F9}" presName="spNode" presStyleCnt="0"/>
      <dgm:spPr/>
    </dgm:pt>
    <dgm:pt modelId="{A900C63B-0E11-416C-AA71-5BDEEA47F8E1}" type="pres">
      <dgm:prSet presAssocID="{13500A83-C414-42FE-8121-F57AC4866E70}" presName="sibTrans" presStyleLbl="sibTrans1D1" presStyleIdx="0" presStyleCnt="7"/>
      <dgm:spPr/>
      <dgm:t>
        <a:bodyPr/>
        <a:lstStyle/>
        <a:p>
          <a:endParaRPr lang="zh-CN" altLang="en-US"/>
        </a:p>
      </dgm:t>
    </dgm:pt>
    <dgm:pt modelId="{ECAEA3DC-237E-4460-A009-29892FBA9010}" type="pres">
      <dgm:prSet presAssocID="{334FEC30-73FC-48A0-8434-83A472BA99D4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316BFDC-B80E-4D6F-B7DB-808A09AB38BE}" type="pres">
      <dgm:prSet presAssocID="{334FEC30-73FC-48A0-8434-83A472BA99D4}" presName="spNode" presStyleCnt="0"/>
      <dgm:spPr/>
    </dgm:pt>
    <dgm:pt modelId="{8B243A83-2C02-49B1-8010-1819CCC4108A}" type="pres">
      <dgm:prSet presAssocID="{B8794A17-D7F2-479C-B1D1-82DB7AABADC2}" presName="sibTrans" presStyleLbl="sibTrans1D1" presStyleIdx="1" presStyleCnt="7"/>
      <dgm:spPr/>
      <dgm:t>
        <a:bodyPr/>
        <a:lstStyle/>
        <a:p>
          <a:endParaRPr lang="zh-CN" altLang="en-US"/>
        </a:p>
      </dgm:t>
    </dgm:pt>
    <dgm:pt modelId="{66837B74-F2A9-4F23-9643-DFFAB6B5E577}" type="pres">
      <dgm:prSet presAssocID="{B57C503B-EDB7-44CE-9F38-34596B481F8A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EFC367A-AFF7-46F1-8331-4A8172930FF3}" type="pres">
      <dgm:prSet presAssocID="{B57C503B-EDB7-44CE-9F38-34596B481F8A}" presName="spNode" presStyleCnt="0"/>
      <dgm:spPr/>
    </dgm:pt>
    <dgm:pt modelId="{84C8CA98-BAAA-4691-9DE3-B19F4E1D4E24}" type="pres">
      <dgm:prSet presAssocID="{5124076A-FA20-47AD-B0C1-11077B1FCD88}" presName="sibTrans" presStyleLbl="sibTrans1D1" presStyleIdx="2" presStyleCnt="7"/>
      <dgm:spPr/>
      <dgm:t>
        <a:bodyPr/>
        <a:lstStyle/>
        <a:p>
          <a:endParaRPr lang="zh-CN" altLang="en-US"/>
        </a:p>
      </dgm:t>
    </dgm:pt>
    <dgm:pt modelId="{7CAC05DC-97BB-4E89-AE16-30DEB785D55A}" type="pres">
      <dgm:prSet presAssocID="{3D88DCEB-9851-4A3B-B847-CD3D60E784D6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809D6F9-61B9-49E7-A6B2-5CAC98F5A74F}" type="pres">
      <dgm:prSet presAssocID="{3D88DCEB-9851-4A3B-B847-CD3D60E784D6}" presName="spNode" presStyleCnt="0"/>
      <dgm:spPr/>
    </dgm:pt>
    <dgm:pt modelId="{1E1E6EB6-F618-4108-92CF-C269224A8A49}" type="pres">
      <dgm:prSet presAssocID="{2CF8049D-85CE-4773-8341-81840BAFD636}" presName="sibTrans" presStyleLbl="sibTrans1D1" presStyleIdx="3" presStyleCnt="7"/>
      <dgm:spPr/>
      <dgm:t>
        <a:bodyPr/>
        <a:lstStyle/>
        <a:p>
          <a:endParaRPr lang="zh-CN" altLang="en-US"/>
        </a:p>
      </dgm:t>
    </dgm:pt>
    <dgm:pt modelId="{F5677D1D-DCAE-4A56-80C2-7477DB0B1FA2}" type="pres">
      <dgm:prSet presAssocID="{6ED882CB-72E0-418F-8317-B5E006D109C5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DC5CDB1-1B24-4010-B8E3-FD8C4A830746}" type="pres">
      <dgm:prSet presAssocID="{6ED882CB-72E0-418F-8317-B5E006D109C5}" presName="spNode" presStyleCnt="0"/>
      <dgm:spPr/>
    </dgm:pt>
    <dgm:pt modelId="{0AD58076-5FC7-4188-BCC7-36DF51EC37B0}" type="pres">
      <dgm:prSet presAssocID="{2FF319EC-1F7E-42FB-83CF-7B35797CE9EC}" presName="sibTrans" presStyleLbl="sibTrans1D1" presStyleIdx="4" presStyleCnt="7"/>
      <dgm:spPr/>
      <dgm:t>
        <a:bodyPr/>
        <a:lstStyle/>
        <a:p>
          <a:endParaRPr lang="zh-CN" altLang="en-US"/>
        </a:p>
      </dgm:t>
    </dgm:pt>
    <dgm:pt modelId="{291E41EA-B69F-4AA5-BB78-A9311E538121}" type="pres">
      <dgm:prSet presAssocID="{356B6ABF-67DC-44E9-B7D7-F36B24B24A61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46BB0F0-FD33-4C85-9CF9-1ED7927139E2}" type="pres">
      <dgm:prSet presAssocID="{356B6ABF-67DC-44E9-B7D7-F36B24B24A61}" presName="spNode" presStyleCnt="0"/>
      <dgm:spPr/>
    </dgm:pt>
    <dgm:pt modelId="{C1317122-1F68-4C40-A514-90D6484A7BB5}" type="pres">
      <dgm:prSet presAssocID="{9205858A-2B58-4E73-AF98-89BB2D93BA9C}" presName="sibTrans" presStyleLbl="sibTrans1D1" presStyleIdx="5" presStyleCnt="7"/>
      <dgm:spPr/>
      <dgm:t>
        <a:bodyPr/>
        <a:lstStyle/>
        <a:p>
          <a:endParaRPr lang="zh-CN" altLang="en-US"/>
        </a:p>
      </dgm:t>
    </dgm:pt>
    <dgm:pt modelId="{E5A9DFD1-7A8C-44EB-A88C-CB06E9AF508C}" type="pres">
      <dgm:prSet presAssocID="{AA1124D0-011E-4D58-BBB4-88E9946D7615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0659CF4-5FA9-496E-BBC4-DE24ECBC681C}" type="pres">
      <dgm:prSet presAssocID="{AA1124D0-011E-4D58-BBB4-88E9946D7615}" presName="spNode" presStyleCnt="0"/>
      <dgm:spPr/>
    </dgm:pt>
    <dgm:pt modelId="{463BF2E8-EC2A-45B8-BE5B-BF23D97D40F7}" type="pres">
      <dgm:prSet presAssocID="{5F2D7F1D-7751-48DE-ABF5-DBCE907EF733}" presName="sibTrans" presStyleLbl="sibTrans1D1" presStyleIdx="6" presStyleCnt="7"/>
      <dgm:spPr/>
      <dgm:t>
        <a:bodyPr/>
        <a:lstStyle/>
        <a:p>
          <a:endParaRPr lang="zh-CN" altLang="en-US"/>
        </a:p>
      </dgm:t>
    </dgm:pt>
  </dgm:ptLst>
  <dgm:cxnLst>
    <dgm:cxn modelId="{5A943A76-87C7-4A07-9982-FC8BDA981B5C}" type="presOf" srcId="{9205858A-2B58-4E73-AF98-89BB2D93BA9C}" destId="{C1317122-1F68-4C40-A514-90D6484A7BB5}" srcOrd="0" destOrd="0" presId="urn:microsoft.com/office/officeart/2005/8/layout/cycle6"/>
    <dgm:cxn modelId="{19956BFC-D517-486B-806C-A604674CE2B4}" type="presOf" srcId="{3D88DCEB-9851-4A3B-B847-CD3D60E784D6}" destId="{7CAC05DC-97BB-4E89-AE16-30DEB785D55A}" srcOrd="0" destOrd="0" presId="urn:microsoft.com/office/officeart/2005/8/layout/cycle6"/>
    <dgm:cxn modelId="{EC347F5A-A49B-4BA0-BE58-170832D14F02}" srcId="{0DD29B0E-9A4C-497E-9A63-393F47104213}" destId="{B57C503B-EDB7-44CE-9F38-34596B481F8A}" srcOrd="2" destOrd="0" parTransId="{D3E821E7-5B6B-4B19-8626-DD8199540476}" sibTransId="{5124076A-FA20-47AD-B0C1-11077B1FCD88}"/>
    <dgm:cxn modelId="{7881372D-0245-44F3-82F2-738EC894BEB3}" type="presOf" srcId="{5124076A-FA20-47AD-B0C1-11077B1FCD88}" destId="{84C8CA98-BAAA-4691-9DE3-B19F4E1D4E24}" srcOrd="0" destOrd="0" presId="urn:microsoft.com/office/officeart/2005/8/layout/cycle6"/>
    <dgm:cxn modelId="{F44A35B2-C43C-4DBB-A3A4-4953CD00D890}" type="presOf" srcId="{334FEC30-73FC-48A0-8434-83A472BA99D4}" destId="{ECAEA3DC-237E-4460-A009-29892FBA9010}" srcOrd="0" destOrd="0" presId="urn:microsoft.com/office/officeart/2005/8/layout/cycle6"/>
    <dgm:cxn modelId="{C0A28E6D-C39F-4B4D-80B1-6F5163BB0C85}" type="presOf" srcId="{2FF319EC-1F7E-42FB-83CF-7B35797CE9EC}" destId="{0AD58076-5FC7-4188-BCC7-36DF51EC37B0}" srcOrd="0" destOrd="0" presId="urn:microsoft.com/office/officeart/2005/8/layout/cycle6"/>
    <dgm:cxn modelId="{3133BA8E-7FDF-4BC5-A29D-A22DA47D07CE}" type="presOf" srcId="{356B6ABF-67DC-44E9-B7D7-F36B24B24A61}" destId="{291E41EA-B69F-4AA5-BB78-A9311E538121}" srcOrd="0" destOrd="0" presId="urn:microsoft.com/office/officeart/2005/8/layout/cycle6"/>
    <dgm:cxn modelId="{90200C4A-DC56-4D80-880E-BC4F56EA792F}" srcId="{0DD29B0E-9A4C-497E-9A63-393F47104213}" destId="{6ED882CB-72E0-418F-8317-B5E006D109C5}" srcOrd="4" destOrd="0" parTransId="{BCD9C55F-7E4D-4165-826E-A9192D27D6C9}" sibTransId="{2FF319EC-1F7E-42FB-83CF-7B35797CE9EC}"/>
    <dgm:cxn modelId="{EDAC1A49-1FD9-4814-80AC-C43F6A0B56F3}" type="presOf" srcId="{0DD29B0E-9A4C-497E-9A63-393F47104213}" destId="{BD67B12C-15AF-4C4A-B732-BD87276ED8CF}" srcOrd="0" destOrd="0" presId="urn:microsoft.com/office/officeart/2005/8/layout/cycle6"/>
    <dgm:cxn modelId="{3A6DB619-C2D1-4669-95C8-9E12DA851E14}" type="presOf" srcId="{B57C503B-EDB7-44CE-9F38-34596B481F8A}" destId="{66837B74-F2A9-4F23-9643-DFFAB6B5E577}" srcOrd="0" destOrd="0" presId="urn:microsoft.com/office/officeart/2005/8/layout/cycle6"/>
    <dgm:cxn modelId="{80849482-B811-4E14-BAE4-B49E9CAED33F}" type="presOf" srcId="{6ED882CB-72E0-418F-8317-B5E006D109C5}" destId="{F5677D1D-DCAE-4A56-80C2-7477DB0B1FA2}" srcOrd="0" destOrd="0" presId="urn:microsoft.com/office/officeart/2005/8/layout/cycle6"/>
    <dgm:cxn modelId="{E0DC38EA-A9D0-4DB5-8972-B51960830E9C}" type="presOf" srcId="{13500A83-C414-42FE-8121-F57AC4866E70}" destId="{A900C63B-0E11-416C-AA71-5BDEEA47F8E1}" srcOrd="0" destOrd="0" presId="urn:microsoft.com/office/officeart/2005/8/layout/cycle6"/>
    <dgm:cxn modelId="{5C060ED4-39A6-4C87-B6B1-7BEB5A0CBF23}" srcId="{0DD29B0E-9A4C-497E-9A63-393F47104213}" destId="{62957B8D-D07B-4F72-BEEF-E00C96EA12F9}" srcOrd="0" destOrd="0" parTransId="{BC37A72B-0EDE-4B14-9274-83B4327E9D2D}" sibTransId="{13500A83-C414-42FE-8121-F57AC4866E70}"/>
    <dgm:cxn modelId="{2546BD53-4F3D-42A0-8B21-976A0226EC7B}" srcId="{0DD29B0E-9A4C-497E-9A63-393F47104213}" destId="{3D88DCEB-9851-4A3B-B847-CD3D60E784D6}" srcOrd="3" destOrd="0" parTransId="{063A7DF8-54B4-4E35-A54B-A7DFD573DA33}" sibTransId="{2CF8049D-85CE-4773-8341-81840BAFD636}"/>
    <dgm:cxn modelId="{CA2C0266-B6CC-494E-B761-566209A939E2}" type="presOf" srcId="{B8794A17-D7F2-479C-B1D1-82DB7AABADC2}" destId="{8B243A83-2C02-49B1-8010-1819CCC4108A}" srcOrd="0" destOrd="0" presId="urn:microsoft.com/office/officeart/2005/8/layout/cycle6"/>
    <dgm:cxn modelId="{49FFAF7A-9851-494D-AD40-2628FD79FF87}" type="presOf" srcId="{62957B8D-D07B-4F72-BEEF-E00C96EA12F9}" destId="{4ADF84B3-CE09-42D4-9EB7-58871428E1C2}" srcOrd="0" destOrd="0" presId="urn:microsoft.com/office/officeart/2005/8/layout/cycle6"/>
    <dgm:cxn modelId="{AD6BAD31-A23C-4587-8E91-C99561243AF4}" srcId="{0DD29B0E-9A4C-497E-9A63-393F47104213}" destId="{AA1124D0-011E-4D58-BBB4-88E9946D7615}" srcOrd="6" destOrd="0" parTransId="{9F4CC77D-D554-4FBC-8535-64EA7ADBF32D}" sibTransId="{5F2D7F1D-7751-48DE-ABF5-DBCE907EF733}"/>
    <dgm:cxn modelId="{60D0BCDE-1482-4D4D-AD3E-9EFD2516FAB4}" type="presOf" srcId="{2CF8049D-85CE-4773-8341-81840BAFD636}" destId="{1E1E6EB6-F618-4108-92CF-C269224A8A49}" srcOrd="0" destOrd="0" presId="urn:microsoft.com/office/officeart/2005/8/layout/cycle6"/>
    <dgm:cxn modelId="{2CACF6F0-0DD5-489D-8875-5C6CE0318093}" srcId="{0DD29B0E-9A4C-497E-9A63-393F47104213}" destId="{356B6ABF-67DC-44E9-B7D7-F36B24B24A61}" srcOrd="5" destOrd="0" parTransId="{4F7E0930-6F0B-4ACC-A0D8-A93DBCE9E6F0}" sibTransId="{9205858A-2B58-4E73-AF98-89BB2D93BA9C}"/>
    <dgm:cxn modelId="{5DF9BA20-B61D-48E4-ADF2-5233C514CA96}" srcId="{0DD29B0E-9A4C-497E-9A63-393F47104213}" destId="{334FEC30-73FC-48A0-8434-83A472BA99D4}" srcOrd="1" destOrd="0" parTransId="{220CA9D7-C1B1-46EF-AA11-CE750EBE162C}" sibTransId="{B8794A17-D7F2-479C-B1D1-82DB7AABADC2}"/>
    <dgm:cxn modelId="{1257AF91-88F9-4919-83EA-66004FA437A7}" type="presOf" srcId="{AA1124D0-011E-4D58-BBB4-88E9946D7615}" destId="{E5A9DFD1-7A8C-44EB-A88C-CB06E9AF508C}" srcOrd="0" destOrd="0" presId="urn:microsoft.com/office/officeart/2005/8/layout/cycle6"/>
    <dgm:cxn modelId="{AE4C306C-C048-4CA3-9009-4C4F05A44633}" type="presOf" srcId="{5F2D7F1D-7751-48DE-ABF5-DBCE907EF733}" destId="{463BF2E8-EC2A-45B8-BE5B-BF23D97D40F7}" srcOrd="0" destOrd="0" presId="urn:microsoft.com/office/officeart/2005/8/layout/cycle6"/>
    <dgm:cxn modelId="{DB9C6BB4-6668-4AF7-9AD8-B279850C84AF}" type="presParOf" srcId="{BD67B12C-15AF-4C4A-B732-BD87276ED8CF}" destId="{4ADF84B3-CE09-42D4-9EB7-58871428E1C2}" srcOrd="0" destOrd="0" presId="urn:microsoft.com/office/officeart/2005/8/layout/cycle6"/>
    <dgm:cxn modelId="{1B921B1F-8DFE-4376-9879-8BB9AF6D61FD}" type="presParOf" srcId="{BD67B12C-15AF-4C4A-B732-BD87276ED8CF}" destId="{AC773761-DF9D-4B08-B343-EF8BD5D8466F}" srcOrd="1" destOrd="0" presId="urn:microsoft.com/office/officeart/2005/8/layout/cycle6"/>
    <dgm:cxn modelId="{E2938697-EE71-4AFB-B8E3-64D0BB8B6E28}" type="presParOf" srcId="{BD67B12C-15AF-4C4A-B732-BD87276ED8CF}" destId="{A900C63B-0E11-416C-AA71-5BDEEA47F8E1}" srcOrd="2" destOrd="0" presId="urn:microsoft.com/office/officeart/2005/8/layout/cycle6"/>
    <dgm:cxn modelId="{3A5D9A59-1C22-430B-8B24-196FEDCC9B2C}" type="presParOf" srcId="{BD67B12C-15AF-4C4A-B732-BD87276ED8CF}" destId="{ECAEA3DC-237E-4460-A009-29892FBA9010}" srcOrd="3" destOrd="0" presId="urn:microsoft.com/office/officeart/2005/8/layout/cycle6"/>
    <dgm:cxn modelId="{D0B695E7-EF62-4F14-9611-7B95F832384A}" type="presParOf" srcId="{BD67B12C-15AF-4C4A-B732-BD87276ED8CF}" destId="{E316BFDC-B80E-4D6F-B7DB-808A09AB38BE}" srcOrd="4" destOrd="0" presId="urn:microsoft.com/office/officeart/2005/8/layout/cycle6"/>
    <dgm:cxn modelId="{15FC1280-D131-46E2-A158-887728507758}" type="presParOf" srcId="{BD67B12C-15AF-4C4A-B732-BD87276ED8CF}" destId="{8B243A83-2C02-49B1-8010-1819CCC4108A}" srcOrd="5" destOrd="0" presId="urn:microsoft.com/office/officeart/2005/8/layout/cycle6"/>
    <dgm:cxn modelId="{2D579A63-9841-4AE8-BABD-844F636D0C18}" type="presParOf" srcId="{BD67B12C-15AF-4C4A-B732-BD87276ED8CF}" destId="{66837B74-F2A9-4F23-9643-DFFAB6B5E577}" srcOrd="6" destOrd="0" presId="urn:microsoft.com/office/officeart/2005/8/layout/cycle6"/>
    <dgm:cxn modelId="{7B5B8089-CAC2-4DDB-8F83-7754D1D96DBC}" type="presParOf" srcId="{BD67B12C-15AF-4C4A-B732-BD87276ED8CF}" destId="{3EFC367A-AFF7-46F1-8331-4A8172930FF3}" srcOrd="7" destOrd="0" presId="urn:microsoft.com/office/officeart/2005/8/layout/cycle6"/>
    <dgm:cxn modelId="{0B1D8B63-01C0-4FF0-A68E-74B241B264DD}" type="presParOf" srcId="{BD67B12C-15AF-4C4A-B732-BD87276ED8CF}" destId="{84C8CA98-BAAA-4691-9DE3-B19F4E1D4E24}" srcOrd="8" destOrd="0" presId="urn:microsoft.com/office/officeart/2005/8/layout/cycle6"/>
    <dgm:cxn modelId="{7F4E3D26-8A8C-4B0D-AE47-68D556B2D1A5}" type="presParOf" srcId="{BD67B12C-15AF-4C4A-B732-BD87276ED8CF}" destId="{7CAC05DC-97BB-4E89-AE16-30DEB785D55A}" srcOrd="9" destOrd="0" presId="urn:microsoft.com/office/officeart/2005/8/layout/cycle6"/>
    <dgm:cxn modelId="{ECF5A772-7615-49DF-88D7-8519D4B43C92}" type="presParOf" srcId="{BD67B12C-15AF-4C4A-B732-BD87276ED8CF}" destId="{3809D6F9-61B9-49E7-A6B2-5CAC98F5A74F}" srcOrd="10" destOrd="0" presId="urn:microsoft.com/office/officeart/2005/8/layout/cycle6"/>
    <dgm:cxn modelId="{F48FC880-7242-4204-9EA4-FB7FF470A1A8}" type="presParOf" srcId="{BD67B12C-15AF-4C4A-B732-BD87276ED8CF}" destId="{1E1E6EB6-F618-4108-92CF-C269224A8A49}" srcOrd="11" destOrd="0" presId="urn:microsoft.com/office/officeart/2005/8/layout/cycle6"/>
    <dgm:cxn modelId="{49098EA7-EA24-4B85-9165-D17D8A506A2C}" type="presParOf" srcId="{BD67B12C-15AF-4C4A-B732-BD87276ED8CF}" destId="{F5677D1D-DCAE-4A56-80C2-7477DB0B1FA2}" srcOrd="12" destOrd="0" presId="urn:microsoft.com/office/officeart/2005/8/layout/cycle6"/>
    <dgm:cxn modelId="{6E33E6D6-3282-4BC0-9120-3ABE03D6E2F3}" type="presParOf" srcId="{BD67B12C-15AF-4C4A-B732-BD87276ED8CF}" destId="{DDC5CDB1-1B24-4010-B8E3-FD8C4A830746}" srcOrd="13" destOrd="0" presId="urn:microsoft.com/office/officeart/2005/8/layout/cycle6"/>
    <dgm:cxn modelId="{A6BAB592-2EA0-4639-91DF-6AE29DE09598}" type="presParOf" srcId="{BD67B12C-15AF-4C4A-B732-BD87276ED8CF}" destId="{0AD58076-5FC7-4188-BCC7-36DF51EC37B0}" srcOrd="14" destOrd="0" presId="urn:microsoft.com/office/officeart/2005/8/layout/cycle6"/>
    <dgm:cxn modelId="{AC4A76A3-FE8F-4B40-8701-10343B83B207}" type="presParOf" srcId="{BD67B12C-15AF-4C4A-B732-BD87276ED8CF}" destId="{291E41EA-B69F-4AA5-BB78-A9311E538121}" srcOrd="15" destOrd="0" presId="urn:microsoft.com/office/officeart/2005/8/layout/cycle6"/>
    <dgm:cxn modelId="{7530B68A-BBD8-49C6-8434-866D23FA3A1B}" type="presParOf" srcId="{BD67B12C-15AF-4C4A-B732-BD87276ED8CF}" destId="{546BB0F0-FD33-4C85-9CF9-1ED7927139E2}" srcOrd="16" destOrd="0" presId="urn:microsoft.com/office/officeart/2005/8/layout/cycle6"/>
    <dgm:cxn modelId="{06589606-B846-46BF-BD59-FBE141A63A2D}" type="presParOf" srcId="{BD67B12C-15AF-4C4A-B732-BD87276ED8CF}" destId="{C1317122-1F68-4C40-A514-90D6484A7BB5}" srcOrd="17" destOrd="0" presId="urn:microsoft.com/office/officeart/2005/8/layout/cycle6"/>
    <dgm:cxn modelId="{A7FA6AB5-202C-477E-B551-4CED444CA67E}" type="presParOf" srcId="{BD67B12C-15AF-4C4A-B732-BD87276ED8CF}" destId="{E5A9DFD1-7A8C-44EB-A88C-CB06E9AF508C}" srcOrd="18" destOrd="0" presId="urn:microsoft.com/office/officeart/2005/8/layout/cycle6"/>
    <dgm:cxn modelId="{AFADDFB4-67E0-4AB2-B94B-EFAA135AF74E}" type="presParOf" srcId="{BD67B12C-15AF-4C4A-B732-BD87276ED8CF}" destId="{00659CF4-5FA9-496E-BBC4-DE24ECBC681C}" srcOrd="19" destOrd="0" presId="urn:microsoft.com/office/officeart/2005/8/layout/cycle6"/>
    <dgm:cxn modelId="{D5BB821B-F80D-4BA4-82D8-AC7257658C07}" type="presParOf" srcId="{BD67B12C-15AF-4C4A-B732-BD87276ED8CF}" destId="{463BF2E8-EC2A-45B8-BE5B-BF23D97D40F7}" srcOrd="20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7076371-F666-464E-9D1E-722FF74FA621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zh-CN" altLang="en-US"/>
        </a:p>
      </dgm:t>
    </dgm:pt>
    <dgm:pt modelId="{3D8F0178-3625-480C-9B12-31AAEACC3D5A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健康数据监测</a:t>
          </a:r>
          <a:endParaRPr lang="zh-CN" altLang="en-US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759FD63-CEFA-4B6A-8D99-6837620627AA}" type="parTrans" cxnId="{03D80A0B-A0D1-4A86-BB7F-92B4FB34D842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7B6EDE19-B174-4AC7-B9CD-6275CE80D9A4}" type="sibTrans" cxnId="{03D80A0B-A0D1-4A86-BB7F-92B4FB34D842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CD164F9E-603A-461E-9B68-B225510612FA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健康食品</a:t>
          </a:r>
          <a:endParaRPr lang="en-US" altLang="zh-CN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产地可视化</a:t>
          </a:r>
          <a:endParaRPr lang="zh-CN" altLang="en-US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71BCAE2-C9E1-4D20-99BC-1BE36B4B917F}" type="parTrans" cxnId="{1250FEBD-4FEB-489B-A213-973DEB29C9D8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6AB2D2C1-F8F7-4A4E-9CDA-BF687C7128BA}" type="sibTrans" cxnId="{1250FEBD-4FEB-489B-A213-973DEB29C9D8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7FF9F723-B23B-4113-B94E-337F4E2E7EFB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运动计划指导</a:t>
          </a:r>
          <a:endParaRPr lang="zh-CN" altLang="en-US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42CA3A6-CF35-4342-BAE7-FA6032B8E714}" type="parTrans" cxnId="{1327AA60-35A5-402B-A7D2-CDFEEB0291E2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5A6CA122-C7EF-462C-89EB-8E8EABC66E7A}" type="sibTrans" cxnId="{1327AA60-35A5-402B-A7D2-CDFEEB0291E2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A1C5DF0C-03DE-4A07-9E96-C479623A19DD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健康咨询</a:t>
          </a:r>
          <a:endParaRPr lang="zh-CN" altLang="en-US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DFA17A1-39AA-434C-842B-2547C936BBF3}" type="parTrans" cxnId="{D7E30288-B368-41EB-A1E0-A0CE4001E099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16F269FD-C274-4525-BFD6-9E6A8D52FBFD}" type="sibTrans" cxnId="{D7E30288-B368-41EB-A1E0-A0CE4001E099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B294AF5C-6C8F-410A-BB46-D6695F803D6B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每日好睡眠</a:t>
          </a:r>
          <a:endParaRPr lang="zh-CN" altLang="en-US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FCDFBC4-E4CA-4DCB-9D4B-D54A5570AA3B}" type="parTrans" cxnId="{B794980B-05F0-47B9-BE4C-1786456CD60A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5639A77E-9698-400F-B4E5-CC758279A0D9}" type="sibTrans" cxnId="{B794980B-05F0-47B9-BE4C-1786456CD60A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5D70504E-E460-411F-9D4C-7FDC6E0DEC2A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京东生鲜配送</a:t>
          </a:r>
          <a:endParaRPr lang="zh-CN" altLang="en-US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211F8F5-1742-46FA-8A17-DF0FBB205F19}" type="parTrans" cxnId="{DE37BEAE-BC71-46DB-A9A1-56366E1EE9D5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9A0BD2ED-323C-4194-A791-1F96D6253C90}" type="sibTrans" cxnId="{DE37BEAE-BC71-46DB-A9A1-56366E1EE9D5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919E5837-C646-4170-A8CE-6968DD784642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健康食谱</a:t>
          </a:r>
          <a:endParaRPr lang="en-US" altLang="zh-CN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推荐</a:t>
          </a:r>
          <a:endParaRPr lang="zh-CN" altLang="en-US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39495B4-9DC0-40B0-A3C6-F63F20D99A2E}" type="sibTrans" cxnId="{1B32F30A-8B71-43F9-915E-1B31FF44BA36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104E10A0-F109-40B8-92FB-21CFADE95DF4}" type="parTrans" cxnId="{1B32F30A-8B71-43F9-915E-1B31FF44BA36}">
      <dgm:prSet/>
      <dgm:spPr/>
      <dgm:t>
        <a:bodyPr/>
        <a:lstStyle/>
        <a:p>
          <a:endParaRPr lang="zh-CN" altLang="en-US">
            <a:latin typeface="+mj-ea"/>
            <a:ea typeface="+mj-ea"/>
          </a:endParaRPr>
        </a:p>
      </dgm:t>
    </dgm:pt>
    <dgm:pt modelId="{CBE4C66F-163A-4D07-AE8B-3D5C63B59E45}" type="pres">
      <dgm:prSet presAssocID="{C7076371-F666-464E-9D1E-722FF74FA62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C63DEC26-485B-4719-ACDC-EE543928F050}" type="pres">
      <dgm:prSet presAssocID="{3D8F0178-3625-480C-9B12-31AAEACC3D5A}" presName="parTxOnly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2379CA7-46B1-4931-B78B-674052F138F8}" type="pres">
      <dgm:prSet presAssocID="{7B6EDE19-B174-4AC7-B9CD-6275CE80D9A4}" presName="parSpace" presStyleCnt="0"/>
      <dgm:spPr/>
    </dgm:pt>
    <dgm:pt modelId="{55CAF10A-165A-4A82-82BF-3C2A56E03F25}" type="pres">
      <dgm:prSet presAssocID="{919E5837-C646-4170-A8CE-6968DD784642}" presName="parTxOnly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54221F2-627C-4E9E-B81D-B6A36991792A}" type="pres">
      <dgm:prSet presAssocID="{639495B4-9DC0-40B0-A3C6-F63F20D99A2E}" presName="parSpace" presStyleCnt="0"/>
      <dgm:spPr/>
    </dgm:pt>
    <dgm:pt modelId="{F0F589BD-EADD-4E5C-8958-B2B47254E1F0}" type="pres">
      <dgm:prSet presAssocID="{CD164F9E-603A-461E-9B68-B225510612FA}" presName="parTxOnly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6396A15-EF83-4F8C-9C16-9E8E8DE98837}" type="pres">
      <dgm:prSet presAssocID="{6AB2D2C1-F8F7-4A4E-9CDA-BF687C7128BA}" presName="parSpace" presStyleCnt="0"/>
      <dgm:spPr/>
    </dgm:pt>
    <dgm:pt modelId="{0F341863-A872-4AB0-ACC8-0E0A0BC691CD}" type="pres">
      <dgm:prSet presAssocID="{5D70504E-E460-411F-9D4C-7FDC6E0DEC2A}" presName="parTxOnly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1F2F2EB-90C7-4C53-A4A6-F9728618FD58}" type="pres">
      <dgm:prSet presAssocID="{9A0BD2ED-323C-4194-A791-1F96D6253C90}" presName="parSpace" presStyleCnt="0"/>
      <dgm:spPr/>
    </dgm:pt>
    <dgm:pt modelId="{FAF3E495-378A-4469-A77C-767D0684B71B}" type="pres">
      <dgm:prSet presAssocID="{7FF9F723-B23B-4113-B94E-337F4E2E7EFB}" presName="parTxOnly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C071536-857A-4C04-B95F-FD34FDC997CC}" type="pres">
      <dgm:prSet presAssocID="{5A6CA122-C7EF-462C-89EB-8E8EABC66E7A}" presName="parSpace" presStyleCnt="0"/>
      <dgm:spPr/>
    </dgm:pt>
    <dgm:pt modelId="{B3A69018-9451-4386-97FE-D9FE2BDECE5D}" type="pres">
      <dgm:prSet presAssocID="{A1C5DF0C-03DE-4A07-9E96-C479623A19DD}" presName="parTxOnly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D3E3BCF-CE91-432A-B55B-C4B25A25A3DA}" type="pres">
      <dgm:prSet presAssocID="{16F269FD-C274-4525-BFD6-9E6A8D52FBFD}" presName="parSpace" presStyleCnt="0"/>
      <dgm:spPr/>
    </dgm:pt>
    <dgm:pt modelId="{160E0DB1-F4A6-487E-A377-A9E58D1632E6}" type="pres">
      <dgm:prSet presAssocID="{B294AF5C-6C8F-410A-BB46-D6695F803D6B}" presName="parTxOnly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DE37BEAE-BC71-46DB-A9A1-56366E1EE9D5}" srcId="{C7076371-F666-464E-9D1E-722FF74FA621}" destId="{5D70504E-E460-411F-9D4C-7FDC6E0DEC2A}" srcOrd="3" destOrd="0" parTransId="{E211F8F5-1742-46FA-8A17-DF0FBB205F19}" sibTransId="{9A0BD2ED-323C-4194-A791-1F96D6253C90}"/>
    <dgm:cxn modelId="{517E9FF9-5A30-4684-B078-D7E24AC7FDDD}" type="presOf" srcId="{C7076371-F666-464E-9D1E-722FF74FA621}" destId="{CBE4C66F-163A-4D07-AE8B-3D5C63B59E45}" srcOrd="0" destOrd="0" presId="urn:microsoft.com/office/officeart/2005/8/layout/hChevron3"/>
    <dgm:cxn modelId="{D7E30288-B368-41EB-A1E0-A0CE4001E099}" srcId="{C7076371-F666-464E-9D1E-722FF74FA621}" destId="{A1C5DF0C-03DE-4A07-9E96-C479623A19DD}" srcOrd="5" destOrd="0" parTransId="{9DFA17A1-39AA-434C-842B-2547C936BBF3}" sibTransId="{16F269FD-C274-4525-BFD6-9E6A8D52FBFD}"/>
    <dgm:cxn modelId="{A0EE8355-3BF9-42AD-B592-1642E2BEE371}" type="presOf" srcId="{A1C5DF0C-03DE-4A07-9E96-C479623A19DD}" destId="{B3A69018-9451-4386-97FE-D9FE2BDECE5D}" srcOrd="0" destOrd="0" presId="urn:microsoft.com/office/officeart/2005/8/layout/hChevron3"/>
    <dgm:cxn modelId="{0DFC1B6E-D067-43A8-A2E5-256D82F1414A}" type="presOf" srcId="{5D70504E-E460-411F-9D4C-7FDC6E0DEC2A}" destId="{0F341863-A872-4AB0-ACC8-0E0A0BC691CD}" srcOrd="0" destOrd="0" presId="urn:microsoft.com/office/officeart/2005/8/layout/hChevron3"/>
    <dgm:cxn modelId="{03D80A0B-A0D1-4A86-BB7F-92B4FB34D842}" srcId="{C7076371-F666-464E-9D1E-722FF74FA621}" destId="{3D8F0178-3625-480C-9B12-31AAEACC3D5A}" srcOrd="0" destOrd="0" parTransId="{F759FD63-CEFA-4B6A-8D99-6837620627AA}" sibTransId="{7B6EDE19-B174-4AC7-B9CD-6275CE80D9A4}"/>
    <dgm:cxn modelId="{67A433F2-E2CB-4782-9F26-734E12BAD994}" type="presOf" srcId="{3D8F0178-3625-480C-9B12-31AAEACC3D5A}" destId="{C63DEC26-485B-4719-ACDC-EE543928F050}" srcOrd="0" destOrd="0" presId="urn:microsoft.com/office/officeart/2005/8/layout/hChevron3"/>
    <dgm:cxn modelId="{042F7839-563D-4B0D-86C5-0C362E57460D}" type="presOf" srcId="{B294AF5C-6C8F-410A-BB46-D6695F803D6B}" destId="{160E0DB1-F4A6-487E-A377-A9E58D1632E6}" srcOrd="0" destOrd="0" presId="urn:microsoft.com/office/officeart/2005/8/layout/hChevron3"/>
    <dgm:cxn modelId="{1327AA60-35A5-402B-A7D2-CDFEEB0291E2}" srcId="{C7076371-F666-464E-9D1E-722FF74FA621}" destId="{7FF9F723-B23B-4113-B94E-337F4E2E7EFB}" srcOrd="4" destOrd="0" parTransId="{B42CA3A6-CF35-4342-BAE7-FA6032B8E714}" sibTransId="{5A6CA122-C7EF-462C-89EB-8E8EABC66E7A}"/>
    <dgm:cxn modelId="{39DCC21A-7000-46FC-B36F-30943731842D}" type="presOf" srcId="{919E5837-C646-4170-A8CE-6968DD784642}" destId="{55CAF10A-165A-4A82-82BF-3C2A56E03F25}" srcOrd="0" destOrd="0" presId="urn:microsoft.com/office/officeart/2005/8/layout/hChevron3"/>
    <dgm:cxn modelId="{1B32F30A-8B71-43F9-915E-1B31FF44BA36}" srcId="{C7076371-F666-464E-9D1E-722FF74FA621}" destId="{919E5837-C646-4170-A8CE-6968DD784642}" srcOrd="1" destOrd="0" parTransId="{104E10A0-F109-40B8-92FB-21CFADE95DF4}" sibTransId="{639495B4-9DC0-40B0-A3C6-F63F20D99A2E}"/>
    <dgm:cxn modelId="{1250FEBD-4FEB-489B-A213-973DEB29C9D8}" srcId="{C7076371-F666-464E-9D1E-722FF74FA621}" destId="{CD164F9E-603A-461E-9B68-B225510612FA}" srcOrd="2" destOrd="0" parTransId="{A71BCAE2-C9E1-4D20-99BC-1BE36B4B917F}" sibTransId="{6AB2D2C1-F8F7-4A4E-9CDA-BF687C7128BA}"/>
    <dgm:cxn modelId="{1F3B59B1-EAC3-4487-B4E8-72A239BB2C99}" type="presOf" srcId="{7FF9F723-B23B-4113-B94E-337F4E2E7EFB}" destId="{FAF3E495-378A-4469-A77C-767D0684B71B}" srcOrd="0" destOrd="0" presId="urn:microsoft.com/office/officeart/2005/8/layout/hChevron3"/>
    <dgm:cxn modelId="{B794980B-05F0-47B9-BE4C-1786456CD60A}" srcId="{C7076371-F666-464E-9D1E-722FF74FA621}" destId="{B294AF5C-6C8F-410A-BB46-D6695F803D6B}" srcOrd="6" destOrd="0" parTransId="{FFCDFBC4-E4CA-4DCB-9D4B-D54A5570AA3B}" sibTransId="{5639A77E-9698-400F-B4E5-CC758279A0D9}"/>
    <dgm:cxn modelId="{5E1781B9-51B7-4F36-AA7B-655BCB9A4AE3}" type="presOf" srcId="{CD164F9E-603A-461E-9B68-B225510612FA}" destId="{F0F589BD-EADD-4E5C-8958-B2B47254E1F0}" srcOrd="0" destOrd="0" presId="urn:microsoft.com/office/officeart/2005/8/layout/hChevron3"/>
    <dgm:cxn modelId="{3570560C-69BE-4773-86B4-C76C518F2D88}" type="presParOf" srcId="{CBE4C66F-163A-4D07-AE8B-3D5C63B59E45}" destId="{C63DEC26-485B-4719-ACDC-EE543928F050}" srcOrd="0" destOrd="0" presId="urn:microsoft.com/office/officeart/2005/8/layout/hChevron3"/>
    <dgm:cxn modelId="{6D4835D4-14C4-41A5-A8B8-1F22C6AC042C}" type="presParOf" srcId="{CBE4C66F-163A-4D07-AE8B-3D5C63B59E45}" destId="{22379CA7-46B1-4931-B78B-674052F138F8}" srcOrd="1" destOrd="0" presId="urn:microsoft.com/office/officeart/2005/8/layout/hChevron3"/>
    <dgm:cxn modelId="{AFF77C7F-8B10-4E7B-9E5F-C6E09FAE285B}" type="presParOf" srcId="{CBE4C66F-163A-4D07-AE8B-3D5C63B59E45}" destId="{55CAF10A-165A-4A82-82BF-3C2A56E03F25}" srcOrd="2" destOrd="0" presId="urn:microsoft.com/office/officeart/2005/8/layout/hChevron3"/>
    <dgm:cxn modelId="{9F46EFEA-57CF-4878-B334-35A99D12CD17}" type="presParOf" srcId="{CBE4C66F-163A-4D07-AE8B-3D5C63B59E45}" destId="{654221F2-627C-4E9E-B81D-B6A36991792A}" srcOrd="3" destOrd="0" presId="urn:microsoft.com/office/officeart/2005/8/layout/hChevron3"/>
    <dgm:cxn modelId="{3AC51F6A-6C4A-466C-B661-86439E9BCF53}" type="presParOf" srcId="{CBE4C66F-163A-4D07-AE8B-3D5C63B59E45}" destId="{F0F589BD-EADD-4E5C-8958-B2B47254E1F0}" srcOrd="4" destOrd="0" presId="urn:microsoft.com/office/officeart/2005/8/layout/hChevron3"/>
    <dgm:cxn modelId="{14FF0BA5-1D54-49BF-B815-C198C2732009}" type="presParOf" srcId="{CBE4C66F-163A-4D07-AE8B-3D5C63B59E45}" destId="{C6396A15-EF83-4F8C-9C16-9E8E8DE98837}" srcOrd="5" destOrd="0" presId="urn:microsoft.com/office/officeart/2005/8/layout/hChevron3"/>
    <dgm:cxn modelId="{FD49079F-4873-4CC1-A145-05596762399B}" type="presParOf" srcId="{CBE4C66F-163A-4D07-AE8B-3D5C63B59E45}" destId="{0F341863-A872-4AB0-ACC8-0E0A0BC691CD}" srcOrd="6" destOrd="0" presId="urn:microsoft.com/office/officeart/2005/8/layout/hChevron3"/>
    <dgm:cxn modelId="{0AAD115A-84EA-47EB-9A52-69122EA13E96}" type="presParOf" srcId="{CBE4C66F-163A-4D07-AE8B-3D5C63B59E45}" destId="{F1F2F2EB-90C7-4C53-A4A6-F9728618FD58}" srcOrd="7" destOrd="0" presId="urn:microsoft.com/office/officeart/2005/8/layout/hChevron3"/>
    <dgm:cxn modelId="{C9D4238E-B856-4D84-9D14-7595EE7AEE3B}" type="presParOf" srcId="{CBE4C66F-163A-4D07-AE8B-3D5C63B59E45}" destId="{FAF3E495-378A-4469-A77C-767D0684B71B}" srcOrd="8" destOrd="0" presId="urn:microsoft.com/office/officeart/2005/8/layout/hChevron3"/>
    <dgm:cxn modelId="{09D17BC7-D547-4A53-8E0D-36875080AED6}" type="presParOf" srcId="{CBE4C66F-163A-4D07-AE8B-3D5C63B59E45}" destId="{9C071536-857A-4C04-B95F-FD34FDC997CC}" srcOrd="9" destOrd="0" presId="urn:microsoft.com/office/officeart/2005/8/layout/hChevron3"/>
    <dgm:cxn modelId="{359245CB-DD77-4EB6-BC0B-03C6C5BE3841}" type="presParOf" srcId="{CBE4C66F-163A-4D07-AE8B-3D5C63B59E45}" destId="{B3A69018-9451-4386-97FE-D9FE2BDECE5D}" srcOrd="10" destOrd="0" presId="urn:microsoft.com/office/officeart/2005/8/layout/hChevron3"/>
    <dgm:cxn modelId="{E5935AEE-6F01-46A7-BFF2-AAA0B291BF14}" type="presParOf" srcId="{CBE4C66F-163A-4D07-AE8B-3D5C63B59E45}" destId="{8D3E3BCF-CE91-432A-B55B-C4B25A25A3DA}" srcOrd="11" destOrd="0" presId="urn:microsoft.com/office/officeart/2005/8/layout/hChevron3"/>
    <dgm:cxn modelId="{4A1FC93F-8FFE-483A-A547-5C1F79E4C9A3}" type="presParOf" srcId="{CBE4C66F-163A-4D07-AE8B-3D5C63B59E45}" destId="{160E0DB1-F4A6-487E-A377-A9E58D1632E6}" srcOrd="1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77DA59-3D69-4491-BD4C-52C5AC33E3E6}">
      <dsp:nvSpPr>
        <dsp:cNvPr id="0" name=""/>
        <dsp:cNvSpPr/>
      </dsp:nvSpPr>
      <dsp:spPr>
        <a:xfrm>
          <a:off x="6573534" y="2870724"/>
          <a:ext cx="1211764" cy="1211533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F32D335-36DB-48FA-A3AB-419780DF756C}">
      <dsp:nvSpPr>
        <dsp:cNvPr id="0" name=""/>
        <dsp:cNvSpPr/>
      </dsp:nvSpPr>
      <dsp:spPr>
        <a:xfrm>
          <a:off x="6614337" y="2911116"/>
          <a:ext cx="1130928" cy="113075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>
              <a:solidFill>
                <a:srgbClr val="431399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数据“全”共享</a:t>
          </a:r>
          <a:endParaRPr lang="zh-CN" altLang="en-US" sz="1000" kern="1200" dirty="0">
            <a:solidFill>
              <a:srgbClr val="431399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776008" y="3072682"/>
        <a:ext cx="807586" cy="807618"/>
      </dsp:txXfrm>
    </dsp:sp>
    <dsp:sp modelId="{472CCF84-20E7-400A-8B10-A065106987CB}">
      <dsp:nvSpPr>
        <dsp:cNvPr id="0" name=""/>
        <dsp:cNvSpPr/>
      </dsp:nvSpPr>
      <dsp:spPr>
        <a:xfrm rot="2700000">
          <a:off x="5321823" y="2870588"/>
          <a:ext cx="1211593" cy="1211593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4">
                <a:hueOff val="-892954"/>
                <a:satOff val="5380"/>
                <a:lumOff val="431"/>
                <a:alphaOff val="0"/>
                <a:shade val="51000"/>
                <a:satMod val="130000"/>
              </a:schemeClr>
            </a:gs>
            <a:gs pos="80000">
              <a:schemeClr val="accent4">
                <a:hueOff val="-892954"/>
                <a:satOff val="5380"/>
                <a:lumOff val="431"/>
                <a:alphaOff val="0"/>
                <a:shade val="93000"/>
                <a:satMod val="130000"/>
              </a:schemeClr>
            </a:gs>
            <a:gs pos="100000">
              <a:schemeClr val="accent4">
                <a:hueOff val="-892954"/>
                <a:satOff val="5380"/>
                <a:lumOff val="43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462FA95-35EC-4600-B382-886049F3420F}">
      <dsp:nvSpPr>
        <dsp:cNvPr id="0" name=""/>
        <dsp:cNvSpPr/>
      </dsp:nvSpPr>
      <dsp:spPr>
        <a:xfrm>
          <a:off x="5362540" y="2911116"/>
          <a:ext cx="1130928" cy="113075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892954"/>
              <a:satOff val="5380"/>
              <a:lumOff val="43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>
              <a:solidFill>
                <a:srgbClr val="431399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供应链服务支持</a:t>
          </a:r>
          <a:endParaRPr lang="zh-CN" altLang="en-US" sz="1000" kern="1200" dirty="0">
            <a:solidFill>
              <a:srgbClr val="431399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524211" y="3072682"/>
        <a:ext cx="807586" cy="807618"/>
      </dsp:txXfrm>
    </dsp:sp>
    <dsp:sp modelId="{12D991CB-9289-4BAE-880D-D657C781E524}">
      <dsp:nvSpPr>
        <dsp:cNvPr id="0" name=""/>
        <dsp:cNvSpPr/>
      </dsp:nvSpPr>
      <dsp:spPr>
        <a:xfrm rot="2700000">
          <a:off x="4070025" y="2870588"/>
          <a:ext cx="1211593" cy="1211593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4">
                <a:hueOff val="-1785908"/>
                <a:satOff val="10760"/>
                <a:lumOff val="862"/>
                <a:alphaOff val="0"/>
                <a:shade val="51000"/>
                <a:satMod val="130000"/>
              </a:schemeClr>
            </a:gs>
            <a:gs pos="80000">
              <a:schemeClr val="accent4">
                <a:hueOff val="-1785908"/>
                <a:satOff val="10760"/>
                <a:lumOff val="862"/>
                <a:alphaOff val="0"/>
                <a:shade val="93000"/>
                <a:satMod val="130000"/>
              </a:schemeClr>
            </a:gs>
            <a:gs pos="100000">
              <a:schemeClr val="accent4">
                <a:hueOff val="-1785908"/>
                <a:satOff val="10760"/>
                <a:lumOff val="86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721D4B7-930B-41E2-8D86-181D88917310}">
      <dsp:nvSpPr>
        <dsp:cNvPr id="0" name=""/>
        <dsp:cNvSpPr/>
      </dsp:nvSpPr>
      <dsp:spPr>
        <a:xfrm>
          <a:off x="4110743" y="2911116"/>
          <a:ext cx="1130928" cy="113075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1785908"/>
              <a:satOff val="10760"/>
              <a:lumOff val="86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>
              <a:solidFill>
                <a:srgbClr val="263BA6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营销“绿”通道</a:t>
          </a:r>
          <a:endParaRPr lang="zh-CN" altLang="en-US" sz="1000" kern="1200" dirty="0">
            <a:solidFill>
              <a:srgbClr val="263BA6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272414" y="3072682"/>
        <a:ext cx="807586" cy="807618"/>
      </dsp:txXfrm>
    </dsp:sp>
    <dsp:sp modelId="{569C17D9-DF33-4055-8797-33C28710324A}">
      <dsp:nvSpPr>
        <dsp:cNvPr id="0" name=""/>
        <dsp:cNvSpPr/>
      </dsp:nvSpPr>
      <dsp:spPr>
        <a:xfrm rot="2700000">
          <a:off x="2818228" y="2870588"/>
          <a:ext cx="1211593" cy="1211593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4">
                <a:hueOff val="-2678862"/>
                <a:satOff val="16139"/>
                <a:lumOff val="1294"/>
                <a:alphaOff val="0"/>
                <a:shade val="51000"/>
                <a:satMod val="130000"/>
              </a:schemeClr>
            </a:gs>
            <a:gs pos="80000">
              <a:schemeClr val="accent4">
                <a:hueOff val="-2678862"/>
                <a:satOff val="16139"/>
                <a:lumOff val="1294"/>
                <a:alphaOff val="0"/>
                <a:shade val="93000"/>
                <a:satMod val="130000"/>
              </a:schemeClr>
            </a:gs>
            <a:gs pos="100000">
              <a:schemeClr val="accent4">
                <a:hueOff val="-2678862"/>
                <a:satOff val="16139"/>
                <a:lumOff val="129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AC942F9-256A-47C9-9318-90F288F2518E}">
      <dsp:nvSpPr>
        <dsp:cNvPr id="0" name=""/>
        <dsp:cNvSpPr/>
      </dsp:nvSpPr>
      <dsp:spPr>
        <a:xfrm>
          <a:off x="2858946" y="2911116"/>
          <a:ext cx="1130928" cy="113075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2678862"/>
              <a:satOff val="16139"/>
              <a:lumOff val="1294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金融服务与资金支持</a:t>
          </a:r>
          <a:endParaRPr lang="zh-CN" altLang="en-US" sz="1000" kern="1200" dirty="0">
            <a:solidFill>
              <a:srgbClr val="0066CC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019847" y="3072682"/>
        <a:ext cx="807586" cy="807618"/>
      </dsp:txXfrm>
    </dsp:sp>
    <dsp:sp modelId="{B2D55CA2-E3B5-478A-A066-77FC9376CEA5}">
      <dsp:nvSpPr>
        <dsp:cNvPr id="0" name=""/>
        <dsp:cNvSpPr/>
      </dsp:nvSpPr>
      <dsp:spPr>
        <a:xfrm rot="2700000">
          <a:off x="1566431" y="2870588"/>
          <a:ext cx="1211593" cy="1211593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4">
                <a:hueOff val="-3571816"/>
                <a:satOff val="21519"/>
                <a:lumOff val="1725"/>
                <a:alphaOff val="0"/>
                <a:shade val="51000"/>
                <a:satMod val="130000"/>
              </a:schemeClr>
            </a:gs>
            <a:gs pos="80000">
              <a:schemeClr val="accent4">
                <a:hueOff val="-3571816"/>
                <a:satOff val="21519"/>
                <a:lumOff val="1725"/>
                <a:alphaOff val="0"/>
                <a:shade val="93000"/>
                <a:satMod val="130000"/>
              </a:schemeClr>
            </a:gs>
            <a:gs pos="100000">
              <a:schemeClr val="accent4">
                <a:hueOff val="-3571816"/>
                <a:satOff val="21519"/>
                <a:lumOff val="17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5DA5444-D7AB-42C5-8C2F-A6430B07BEDC}">
      <dsp:nvSpPr>
        <dsp:cNvPr id="0" name=""/>
        <dsp:cNvSpPr/>
      </dsp:nvSpPr>
      <dsp:spPr>
        <a:xfrm>
          <a:off x="1607149" y="2911116"/>
          <a:ext cx="1130928" cy="113075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3571816"/>
              <a:satOff val="21519"/>
              <a:lumOff val="1725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>
              <a:solidFill>
                <a:srgbClr val="006699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技术支持</a:t>
          </a:r>
          <a:endParaRPr lang="zh-CN" altLang="en-US" sz="1000" kern="1200" dirty="0">
            <a:solidFill>
              <a:srgbClr val="006699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768050" y="3072682"/>
        <a:ext cx="807586" cy="807618"/>
      </dsp:txXfrm>
    </dsp:sp>
    <dsp:sp modelId="{A94D1845-2377-4130-A0DC-D37BF483EC1B}">
      <dsp:nvSpPr>
        <dsp:cNvPr id="0" name=""/>
        <dsp:cNvSpPr/>
      </dsp:nvSpPr>
      <dsp:spPr>
        <a:xfrm rot="2700000">
          <a:off x="314634" y="2870588"/>
          <a:ext cx="1211593" cy="1211593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4">
                <a:hueOff val="-4464770"/>
                <a:satOff val="26899"/>
                <a:lumOff val="2156"/>
                <a:alphaOff val="0"/>
                <a:shade val="51000"/>
                <a:satMod val="130000"/>
              </a:schemeClr>
            </a:gs>
            <a:gs pos="80000">
              <a:schemeClr val="accent4">
                <a:hueOff val="-4464770"/>
                <a:satOff val="26899"/>
                <a:lumOff val="2156"/>
                <a:alphaOff val="0"/>
                <a:shade val="93000"/>
                <a:satMod val="130000"/>
              </a:schemeClr>
            </a:gs>
            <a:gs pos="100000">
              <a:schemeClr val="accent4">
                <a:hueOff val="-4464770"/>
                <a:satOff val="26899"/>
                <a:lumOff val="215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EAB1166-AC45-478A-9154-FFDF4563CB5F}">
      <dsp:nvSpPr>
        <dsp:cNvPr id="0" name=""/>
        <dsp:cNvSpPr/>
      </dsp:nvSpPr>
      <dsp:spPr>
        <a:xfrm>
          <a:off x="354582" y="2911116"/>
          <a:ext cx="1130928" cy="113075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>
              <a:solidFill>
                <a:srgbClr val="006699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合作“零”门槛</a:t>
          </a:r>
          <a:endParaRPr lang="zh-CN" altLang="en-US" sz="1000" kern="1200" dirty="0">
            <a:solidFill>
              <a:srgbClr val="006699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16253" y="3072682"/>
        <a:ext cx="807586" cy="8076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ABE654-E5CC-4958-BCFF-FD111690A665}">
      <dsp:nvSpPr>
        <dsp:cNvPr id="0" name=""/>
        <dsp:cNvSpPr/>
      </dsp:nvSpPr>
      <dsp:spPr>
        <a:xfrm>
          <a:off x="2970080" y="923"/>
          <a:ext cx="2074498" cy="1348424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 smtClean="0"/>
            <a:t>京东用户</a:t>
          </a:r>
          <a:endParaRPr lang="zh-CN" altLang="en-US" sz="2400" kern="1200" dirty="0"/>
        </a:p>
      </dsp:txBody>
      <dsp:txXfrm>
        <a:off x="3035905" y="66748"/>
        <a:ext cx="1942848" cy="1216774"/>
      </dsp:txXfrm>
    </dsp:sp>
    <dsp:sp modelId="{2FC56827-FD6F-48A0-B51E-9FE59FC5DFB2}">
      <dsp:nvSpPr>
        <dsp:cNvPr id="0" name=""/>
        <dsp:cNvSpPr/>
      </dsp:nvSpPr>
      <dsp:spPr>
        <a:xfrm>
          <a:off x="1837362" y="669782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3396776" y="328485"/>
              </a:moveTo>
              <a:arcTo wR="2231413" hR="2231413" stAng="18089011" swAng="1016021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1832AF-972D-4495-9088-98C77B8834D5}">
      <dsp:nvSpPr>
        <dsp:cNvPr id="0" name=""/>
        <dsp:cNvSpPr/>
      </dsp:nvSpPr>
      <dsp:spPr>
        <a:xfrm>
          <a:off x="5081934" y="1588621"/>
          <a:ext cx="2334889" cy="1646560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第三方</a:t>
          </a:r>
          <a:r>
            <a:rPr lang="en-US" altLang="zh-CN" sz="2000" kern="1200" dirty="0" smtClean="0"/>
            <a:t>JOS</a:t>
          </a:r>
          <a:r>
            <a:rPr lang="zh-CN" altLang="en-US" sz="2000" kern="1200" dirty="0" smtClean="0"/>
            <a:t>应用</a:t>
          </a:r>
          <a:endParaRPr lang="en-US" altLang="zh-CN" sz="200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ea typeface="微软雅黑"/>
            </a:rPr>
            <a:t>（增值服务、</a:t>
          </a:r>
          <a:r>
            <a:rPr lang="zh-CN" altLang="zh-CN" sz="1050" kern="1200" dirty="0" smtClean="0">
              <a:latin typeface="微软雅黑" pitchFamily="34"/>
              <a:ea typeface="微软雅黑" pitchFamily="34"/>
            </a:rPr>
            <a:t>行业方案</a:t>
          </a:r>
          <a:r>
            <a:rPr lang="en-US" altLang="zh-CN" sz="1050" kern="1200" dirty="0" smtClean="0">
              <a:latin typeface="微软雅黑" pitchFamily="34"/>
              <a:ea typeface="微软雅黑" pitchFamily="34"/>
            </a:rPr>
            <a:t>/APP</a:t>
          </a:r>
          <a:r>
            <a:rPr lang="zh-CN" altLang="en-US" sz="1050" kern="1200" dirty="0" smtClean="0"/>
            <a:t>）</a:t>
          </a:r>
          <a:endParaRPr lang="en-US" altLang="zh-CN" sz="105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endParaRPr lang="en-US" altLang="zh-CN" sz="200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京东应用</a:t>
          </a:r>
          <a:endParaRPr lang="zh-CN" altLang="en-US" sz="2000" kern="1200" dirty="0"/>
        </a:p>
      </dsp:txBody>
      <dsp:txXfrm>
        <a:off x="5162312" y="1668999"/>
        <a:ext cx="2174133" cy="1485804"/>
      </dsp:txXfrm>
    </dsp:sp>
    <dsp:sp modelId="{A774B7FE-EB5B-41C1-87F2-E431AB309E24}">
      <dsp:nvSpPr>
        <dsp:cNvPr id="0" name=""/>
        <dsp:cNvSpPr/>
      </dsp:nvSpPr>
      <dsp:spPr>
        <a:xfrm>
          <a:off x="1239052" y="316518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4236908" y="3209776"/>
              </a:moveTo>
              <a:arcTo wR="2231413" hR="2231413" stAng="1560301" swAng="1505034"/>
            </a:path>
          </a:pathLst>
        </a:custGeom>
        <a:noFill/>
        <a:ln w="9525" cap="flat" cmpd="sng" algn="ctr">
          <a:solidFill>
            <a:schemeClr val="accent4">
              <a:hueOff val="-1488257"/>
              <a:satOff val="8966"/>
              <a:lumOff val="719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41B54E-A197-4B8A-8117-1C7A14AEAED8}">
      <dsp:nvSpPr>
        <dsp:cNvPr id="0" name=""/>
        <dsp:cNvSpPr/>
      </dsp:nvSpPr>
      <dsp:spPr>
        <a:xfrm>
          <a:off x="285100" y="4463745"/>
          <a:ext cx="7584450" cy="1348424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kern="1200" dirty="0"/>
        </a:p>
      </dsp:txBody>
      <dsp:txXfrm>
        <a:off x="350925" y="4529570"/>
        <a:ext cx="7452800" cy="1216774"/>
      </dsp:txXfrm>
    </dsp:sp>
    <dsp:sp modelId="{8BD773E2-CBC8-4A1A-A72A-7BBDA83C25FA}">
      <dsp:nvSpPr>
        <dsp:cNvPr id="0" name=""/>
        <dsp:cNvSpPr/>
      </dsp:nvSpPr>
      <dsp:spPr>
        <a:xfrm>
          <a:off x="2380733" y="288517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871167" y="4000293"/>
              </a:moveTo>
              <a:arcTo wR="2231413" hR="2231413" stAng="7653588" swAng="1521332"/>
            </a:path>
          </a:pathLst>
        </a:custGeom>
        <a:noFill/>
        <a:ln w="9525" cap="flat" cmpd="sng" algn="ctr">
          <a:solidFill>
            <a:schemeClr val="accent4">
              <a:hueOff val="-2976513"/>
              <a:satOff val="17933"/>
              <a:lumOff val="1437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379221-0C86-4B18-BA1D-0041EBA6EEC9}">
      <dsp:nvSpPr>
        <dsp:cNvPr id="0" name=""/>
        <dsp:cNvSpPr/>
      </dsp:nvSpPr>
      <dsp:spPr>
        <a:xfrm>
          <a:off x="673243" y="1588622"/>
          <a:ext cx="2279085" cy="1655446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硬件</a:t>
          </a:r>
          <a:endParaRPr lang="en-US" altLang="zh-CN" sz="20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家居，健康穿戴</a:t>
          </a:r>
          <a:endParaRPr lang="en-US" altLang="zh-CN" sz="12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车载</a:t>
          </a:r>
          <a:r>
            <a:rPr lang="en-US" altLang="zh-CN" sz="1200" kern="1200" dirty="0" smtClean="0">
              <a:ea typeface="微软雅黑"/>
            </a:rPr>
            <a:t>……</a:t>
          </a:r>
          <a:endParaRPr lang="zh-CN" altLang="en-US" sz="1200" kern="1200" dirty="0"/>
        </a:p>
      </dsp:txBody>
      <dsp:txXfrm>
        <a:off x="754055" y="1669434"/>
        <a:ext cx="2117461" cy="1493822"/>
      </dsp:txXfrm>
    </dsp:sp>
    <dsp:sp modelId="{2A9A4914-E73F-4A93-892C-4E820444E5F1}">
      <dsp:nvSpPr>
        <dsp:cNvPr id="0" name=""/>
        <dsp:cNvSpPr/>
      </dsp:nvSpPr>
      <dsp:spPr>
        <a:xfrm>
          <a:off x="1673347" y="762773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632664" y="674747"/>
              </a:moveTo>
              <a:arcTo wR="2231413" hR="2231413" stAng="13454155" swAng="948439"/>
            </a:path>
          </a:pathLst>
        </a:custGeom>
        <a:noFill/>
        <a:ln w="9525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8B4CDE-9B5D-4804-8ABE-A57955118999}">
      <dsp:nvSpPr>
        <dsp:cNvPr id="0" name=""/>
        <dsp:cNvSpPr/>
      </dsp:nvSpPr>
      <dsp:spPr>
        <a:xfrm>
          <a:off x="3985624" y="1149369"/>
          <a:ext cx="1328541" cy="3163064"/>
        </a:xfrm>
        <a:prstGeom prst="wedgeRectCallout">
          <a:avLst>
            <a:gd name="adj1" fmla="val 0"/>
            <a:gd name="adj2" fmla="val 0"/>
          </a:avLst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zh-CN" sz="1200" kern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  云分析</a:t>
          </a:r>
          <a:endParaRPr lang="en-US" altLang="zh-CN" sz="1200" kern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  云测试</a:t>
          </a:r>
          <a:endParaRPr lang="en-US" altLang="zh-CN" sz="1200" kern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  云推送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154083" y="1149369"/>
        <a:ext cx="1160082" cy="3163064"/>
      </dsp:txXfrm>
    </dsp:sp>
    <dsp:sp modelId="{C43E5415-0BA2-4F12-89DC-CEBD641FF3DC}">
      <dsp:nvSpPr>
        <dsp:cNvPr id="0" name=""/>
        <dsp:cNvSpPr/>
      </dsp:nvSpPr>
      <dsp:spPr>
        <a:xfrm>
          <a:off x="3985624" y="411269"/>
          <a:ext cx="1328541" cy="738100"/>
        </a:xfrm>
        <a:prstGeom prst="rect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移动云</a:t>
          </a:r>
          <a:endParaRPr lang="zh-CN" altLang="en-US" sz="14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985624" y="411269"/>
        <a:ext cx="1328541" cy="738100"/>
      </dsp:txXfrm>
    </dsp:sp>
    <dsp:sp modelId="{AA890718-E7C8-4F44-A663-8F9D8B1B5079}">
      <dsp:nvSpPr>
        <dsp:cNvPr id="0" name=""/>
        <dsp:cNvSpPr/>
      </dsp:nvSpPr>
      <dsp:spPr>
        <a:xfrm>
          <a:off x="2657082" y="1149369"/>
          <a:ext cx="1328541" cy="2952401"/>
        </a:xfrm>
        <a:prstGeom prst="wedgeRectCallout">
          <a:avLst>
            <a:gd name="adj1" fmla="val 62500"/>
            <a:gd name="adj2" fmla="val 20830"/>
          </a:avLst>
        </a:prstGeom>
        <a:solidFill>
          <a:schemeClr val="accent5">
            <a:tint val="50000"/>
            <a:hueOff val="18630"/>
            <a:satOff val="-949"/>
            <a:lumOff val="364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zh-CN" sz="1200" kern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多语言支持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弹性运行环境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快速开发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825542" y="1149369"/>
        <a:ext cx="1160082" cy="2952401"/>
      </dsp:txXfrm>
    </dsp:sp>
    <dsp:sp modelId="{CE386355-59CE-4EEE-ADC5-6BDB979E5649}">
      <dsp:nvSpPr>
        <dsp:cNvPr id="0" name=""/>
        <dsp:cNvSpPr/>
      </dsp:nvSpPr>
      <dsp:spPr>
        <a:xfrm>
          <a:off x="2657082" y="518551"/>
          <a:ext cx="1328541" cy="632768"/>
        </a:xfrm>
        <a:prstGeom prst="rect">
          <a:avLst/>
        </a:prstGeom>
        <a:solidFill>
          <a:schemeClr val="accent5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应用引擎</a:t>
          </a:r>
          <a:endParaRPr lang="zh-CN" altLang="en-US" sz="14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657082" y="518551"/>
        <a:ext cx="1328541" cy="632768"/>
      </dsp:txXfrm>
    </dsp:sp>
    <dsp:sp modelId="{137AED50-CBA6-450A-A2F5-97FC487D0727}">
      <dsp:nvSpPr>
        <dsp:cNvPr id="0" name=""/>
        <dsp:cNvSpPr/>
      </dsp:nvSpPr>
      <dsp:spPr>
        <a:xfrm>
          <a:off x="1328541" y="1149369"/>
          <a:ext cx="1328541" cy="2741348"/>
        </a:xfrm>
        <a:prstGeom prst="wedgeRectCallout">
          <a:avLst>
            <a:gd name="adj1" fmla="val 62500"/>
            <a:gd name="adj2" fmla="val 20830"/>
          </a:avLst>
        </a:prstGeom>
        <a:solidFill>
          <a:schemeClr val="accent5">
            <a:tint val="50000"/>
            <a:hueOff val="37260"/>
            <a:satOff val="-1898"/>
            <a:lumOff val="72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zh-CN" sz="1200" kern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</a:t>
          </a:r>
          <a:r>
            <a:rPr lang="zh-CN" altLang="en-US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海量数据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低成本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高可用性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497000" y="1149369"/>
        <a:ext cx="1160082" cy="2741348"/>
      </dsp:txXfrm>
    </dsp:sp>
    <dsp:sp modelId="{39A68022-58BA-4BAC-AA21-80DCAA46D663}">
      <dsp:nvSpPr>
        <dsp:cNvPr id="0" name=""/>
        <dsp:cNvSpPr/>
      </dsp:nvSpPr>
      <dsp:spPr>
        <a:xfrm>
          <a:off x="1328541" y="622322"/>
          <a:ext cx="1328541" cy="527047"/>
        </a:xfrm>
        <a:prstGeom prst="rect">
          <a:avLst/>
        </a:prstGeom>
        <a:solidFill>
          <a:schemeClr val="accent5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云存储</a:t>
          </a:r>
          <a:endParaRPr lang="zh-CN" altLang="en-US" sz="14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328541" y="622322"/>
        <a:ext cx="1328541" cy="527047"/>
      </dsp:txXfrm>
    </dsp:sp>
    <dsp:sp modelId="{50468D0D-FF7D-4BBF-8102-FE5778E30A65}">
      <dsp:nvSpPr>
        <dsp:cNvPr id="0" name=""/>
        <dsp:cNvSpPr/>
      </dsp:nvSpPr>
      <dsp:spPr>
        <a:xfrm>
          <a:off x="0" y="1149369"/>
          <a:ext cx="1328541" cy="2530295"/>
        </a:xfrm>
        <a:prstGeom prst="wedgeRectCallout">
          <a:avLst>
            <a:gd name="adj1" fmla="val 62500"/>
            <a:gd name="adj2" fmla="val 20830"/>
          </a:avLst>
        </a:prstGeom>
        <a:solidFill>
          <a:schemeClr val="accent5">
            <a:tint val="50000"/>
            <a:hueOff val="55889"/>
            <a:satOff val="-2847"/>
            <a:lumOff val="109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</a:t>
          </a:r>
          <a:endParaRPr lang="en-US" altLang="zh-CN" sz="1200" kern="1200" dirty="0" smtClean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</a:t>
          </a:r>
          <a:r>
            <a:rPr lang="zh-CN" altLang="en-US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弹性扩展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轻松部署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安全可靠</a:t>
          </a: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200" kern="1200" dirty="0">
            <a:solidFill>
              <a:schemeClr val="tx1">
                <a:lumMod val="85000"/>
                <a:lumOff val="1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68459" y="1149369"/>
        <a:ext cx="1160082" cy="2530295"/>
      </dsp:txXfrm>
    </dsp:sp>
    <dsp:sp modelId="{98E7A9ED-C6A4-4E70-A85E-E2DA37135A60}">
      <dsp:nvSpPr>
        <dsp:cNvPr id="0" name=""/>
        <dsp:cNvSpPr/>
      </dsp:nvSpPr>
      <dsp:spPr>
        <a:xfrm>
          <a:off x="0" y="727653"/>
          <a:ext cx="1328541" cy="421715"/>
        </a:xfrm>
        <a:prstGeom prst="rect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云主机</a:t>
          </a:r>
          <a:endParaRPr lang="zh-CN" altLang="en-US" sz="14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0" y="727653"/>
        <a:ext cx="1328541" cy="4217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130981-3CD4-45FB-8A6C-5D2C0231EE50}">
      <dsp:nvSpPr>
        <dsp:cNvPr id="0" name=""/>
        <dsp:cNvSpPr/>
      </dsp:nvSpPr>
      <dsp:spPr>
        <a:xfrm>
          <a:off x="0" y="2157099"/>
          <a:ext cx="1408121" cy="11614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 家居设备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 穿戴设备</a:t>
          </a:r>
          <a:endParaRPr lang="zh-CN" altLang="en-US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 车载终端</a:t>
          </a:r>
          <a:endParaRPr lang="zh-CN" altLang="en-US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6727" y="2183826"/>
        <a:ext cx="1354667" cy="859079"/>
      </dsp:txXfrm>
    </dsp:sp>
    <dsp:sp modelId="{B6BB9137-DEBD-4D91-8ABE-9C8B885E1ED1}">
      <dsp:nvSpPr>
        <dsp:cNvPr id="0" name=""/>
        <dsp:cNvSpPr/>
      </dsp:nvSpPr>
      <dsp:spPr>
        <a:xfrm>
          <a:off x="807655" y="2484028"/>
          <a:ext cx="1476348" cy="1476348"/>
        </a:xfrm>
        <a:prstGeom prst="leftCircularArrow">
          <a:avLst>
            <a:gd name="adj1" fmla="val 2640"/>
            <a:gd name="adj2" fmla="val 320928"/>
            <a:gd name="adj3" fmla="val 2096439"/>
            <a:gd name="adj4" fmla="val 9024489"/>
            <a:gd name="adj5" fmla="val 3079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AB7F219-9FA0-4EEA-ABD3-888646C41790}">
      <dsp:nvSpPr>
        <dsp:cNvPr id="0" name=""/>
        <dsp:cNvSpPr/>
      </dsp:nvSpPr>
      <dsp:spPr>
        <a:xfrm>
          <a:off x="314816" y="3068134"/>
          <a:ext cx="1251663" cy="49774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汇集海量数据</a:t>
          </a:r>
          <a:endParaRPr lang="zh-CN" altLang="en-US" sz="12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29394" y="3082712"/>
        <a:ext cx="1222507" cy="468589"/>
      </dsp:txXfrm>
    </dsp:sp>
    <dsp:sp modelId="{E3981F0C-AE77-4EDC-AE56-309F485C8A7D}">
      <dsp:nvSpPr>
        <dsp:cNvPr id="0" name=""/>
        <dsp:cNvSpPr/>
      </dsp:nvSpPr>
      <dsp:spPr>
        <a:xfrm>
          <a:off x="1752043" y="2155600"/>
          <a:ext cx="1408121" cy="11614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-2483469"/>
              <a:satOff val="9953"/>
              <a:lumOff val="2157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可拓展存储空间</a:t>
          </a:r>
          <a:endParaRPr lang="zh-CN" altLang="en-US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稳定永久存储</a:t>
          </a:r>
          <a:endParaRPr lang="en-US" altLang="zh-CN" sz="1000" b="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778770" y="2431200"/>
        <a:ext cx="1354667" cy="859079"/>
      </dsp:txXfrm>
    </dsp:sp>
    <dsp:sp modelId="{57BC311A-8B7A-4AD7-A366-8D7525F5728E}">
      <dsp:nvSpPr>
        <dsp:cNvPr id="0" name=""/>
        <dsp:cNvSpPr/>
      </dsp:nvSpPr>
      <dsp:spPr>
        <a:xfrm>
          <a:off x="2546063" y="1466693"/>
          <a:ext cx="1656275" cy="1656275"/>
        </a:xfrm>
        <a:prstGeom prst="circularArrow">
          <a:avLst>
            <a:gd name="adj1" fmla="val 2353"/>
            <a:gd name="adj2" fmla="val 284170"/>
            <a:gd name="adj3" fmla="val 19540320"/>
            <a:gd name="adj4" fmla="val 12575511"/>
            <a:gd name="adj5" fmla="val 2745"/>
          </a:avLst>
        </a:prstGeom>
        <a:gradFill rotWithShape="0">
          <a:gsLst>
            <a:gs pos="0">
              <a:schemeClr val="accent5">
                <a:hueOff val="-3311292"/>
                <a:satOff val="13270"/>
                <a:lumOff val="2876"/>
                <a:alphaOff val="0"/>
                <a:shade val="51000"/>
                <a:satMod val="130000"/>
              </a:schemeClr>
            </a:gs>
            <a:gs pos="80000">
              <a:schemeClr val="accent5">
                <a:hueOff val="-3311292"/>
                <a:satOff val="13270"/>
                <a:lumOff val="2876"/>
                <a:alphaOff val="0"/>
                <a:shade val="93000"/>
                <a:satMod val="130000"/>
              </a:schemeClr>
            </a:gs>
            <a:gs pos="100000">
              <a:schemeClr val="accent5">
                <a:hueOff val="-3311292"/>
                <a:satOff val="13270"/>
                <a:lumOff val="287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E2EFA03-1453-4B0E-938F-548D59F943B0}">
      <dsp:nvSpPr>
        <dsp:cNvPr id="0" name=""/>
        <dsp:cNvSpPr/>
      </dsp:nvSpPr>
      <dsp:spPr>
        <a:xfrm>
          <a:off x="2064959" y="1906728"/>
          <a:ext cx="1251663" cy="49774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-2483469"/>
                <a:satOff val="9953"/>
                <a:lumOff val="2157"/>
                <a:alphaOff val="0"/>
                <a:shade val="51000"/>
                <a:satMod val="130000"/>
              </a:schemeClr>
            </a:gs>
            <a:gs pos="80000">
              <a:schemeClr val="accent5">
                <a:hueOff val="-2483469"/>
                <a:satOff val="9953"/>
                <a:lumOff val="2157"/>
                <a:alphaOff val="0"/>
                <a:shade val="93000"/>
                <a:satMod val="130000"/>
              </a:schemeClr>
            </a:gs>
            <a:gs pos="100000">
              <a:schemeClr val="accent5">
                <a:hueOff val="-2483469"/>
                <a:satOff val="9953"/>
                <a:lumOff val="215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云端永久存储</a:t>
          </a:r>
          <a:endParaRPr lang="zh-CN" altLang="en-US" sz="12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079537" y="1921306"/>
        <a:ext cx="1222507" cy="468589"/>
      </dsp:txXfrm>
    </dsp:sp>
    <dsp:sp modelId="{DCE68B8E-3F08-4C34-AAB8-640BFDC66FE2}">
      <dsp:nvSpPr>
        <dsp:cNvPr id="0" name=""/>
        <dsp:cNvSpPr/>
      </dsp:nvSpPr>
      <dsp:spPr>
        <a:xfrm>
          <a:off x="3502186" y="2155600"/>
          <a:ext cx="1408121" cy="11614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-4966938"/>
              <a:satOff val="19906"/>
              <a:lumOff val="4314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</a:t>
          </a: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数据清洗</a:t>
          </a:r>
          <a:endParaRPr lang="zh-CN" altLang="en-US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数据挖掘</a:t>
          </a:r>
          <a:endParaRPr lang="zh-CN" altLang="en-US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数据分析</a:t>
          </a:r>
          <a:endParaRPr lang="zh-CN" altLang="en-US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528913" y="2182327"/>
        <a:ext cx="1354667" cy="859079"/>
      </dsp:txXfrm>
    </dsp:sp>
    <dsp:sp modelId="{04E1BB3B-46AA-4E11-9D6B-24A91198B02D}">
      <dsp:nvSpPr>
        <dsp:cNvPr id="0" name=""/>
        <dsp:cNvSpPr/>
      </dsp:nvSpPr>
      <dsp:spPr>
        <a:xfrm>
          <a:off x="4279765" y="2461515"/>
          <a:ext cx="1506489" cy="1506489"/>
        </a:xfrm>
        <a:prstGeom prst="leftCircularArrow">
          <a:avLst>
            <a:gd name="adj1" fmla="val 2587"/>
            <a:gd name="adj2" fmla="val 314121"/>
            <a:gd name="adj3" fmla="val 2089632"/>
            <a:gd name="adj4" fmla="val 9024489"/>
            <a:gd name="adj5" fmla="val 3018"/>
          </a:avLst>
        </a:prstGeom>
        <a:gradFill rotWithShape="0">
          <a:gsLst>
            <a:gs pos="0">
              <a:schemeClr val="accent5">
                <a:hueOff val="-6622584"/>
                <a:satOff val="26541"/>
                <a:lumOff val="5752"/>
                <a:alphaOff val="0"/>
                <a:shade val="51000"/>
                <a:satMod val="130000"/>
              </a:schemeClr>
            </a:gs>
            <a:gs pos="80000">
              <a:schemeClr val="accent5">
                <a:hueOff val="-6622584"/>
                <a:satOff val="26541"/>
                <a:lumOff val="5752"/>
                <a:alphaOff val="0"/>
                <a:shade val="93000"/>
                <a:satMod val="130000"/>
              </a:schemeClr>
            </a:gs>
            <a:gs pos="100000">
              <a:schemeClr val="accent5">
                <a:hueOff val="-6622584"/>
                <a:satOff val="26541"/>
                <a:lumOff val="575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A5614F8-E1C1-4F94-83BE-BDFE0A04E483}">
      <dsp:nvSpPr>
        <dsp:cNvPr id="0" name=""/>
        <dsp:cNvSpPr/>
      </dsp:nvSpPr>
      <dsp:spPr>
        <a:xfrm>
          <a:off x="3788892" y="3068134"/>
          <a:ext cx="1251663" cy="49774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-4966938"/>
                <a:satOff val="19906"/>
                <a:lumOff val="4314"/>
                <a:alphaOff val="0"/>
                <a:shade val="51000"/>
                <a:satMod val="130000"/>
              </a:schemeClr>
            </a:gs>
            <a:gs pos="80000">
              <a:schemeClr val="accent5">
                <a:hueOff val="-4966938"/>
                <a:satOff val="19906"/>
                <a:lumOff val="4314"/>
                <a:alphaOff val="0"/>
                <a:shade val="93000"/>
                <a:satMod val="130000"/>
              </a:schemeClr>
            </a:gs>
            <a:gs pos="100000">
              <a:schemeClr val="accent5">
                <a:hueOff val="-4966938"/>
                <a:satOff val="19906"/>
                <a:lumOff val="431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0" kern="12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   </a:t>
          </a:r>
          <a:r>
            <a:rPr lang="zh-CN" altLang="en-US" sz="1100" b="1" kern="12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结合京东用户行为大数据分析</a:t>
          </a:r>
          <a:endParaRPr lang="zh-CN" altLang="en-US" sz="1100" b="0" kern="1200" dirty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803470" y="3082712"/>
        <a:ext cx="1222507" cy="468589"/>
      </dsp:txXfrm>
    </dsp:sp>
    <dsp:sp modelId="{7499DB9F-5883-4BF3-BA88-0AA0375203CE}">
      <dsp:nvSpPr>
        <dsp:cNvPr id="0" name=""/>
        <dsp:cNvSpPr/>
      </dsp:nvSpPr>
      <dsp:spPr>
        <a:xfrm>
          <a:off x="5252328" y="2155600"/>
          <a:ext cx="1408121" cy="11614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-7450407"/>
              <a:satOff val="29858"/>
              <a:lumOff val="647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数据开放</a:t>
          </a:r>
          <a:endParaRPr lang="zh-CN" altLang="en-US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  用户开放服务</a:t>
          </a:r>
          <a:endParaRPr lang="zh-CN" altLang="en-US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279055" y="2431200"/>
        <a:ext cx="1354667" cy="859079"/>
      </dsp:txXfrm>
    </dsp:sp>
    <dsp:sp modelId="{1202A32C-2B3E-4A78-BD32-4855EBA62791}">
      <dsp:nvSpPr>
        <dsp:cNvPr id="0" name=""/>
        <dsp:cNvSpPr/>
      </dsp:nvSpPr>
      <dsp:spPr>
        <a:xfrm>
          <a:off x="6046349" y="1466693"/>
          <a:ext cx="1656275" cy="1656275"/>
        </a:xfrm>
        <a:prstGeom prst="circularArrow">
          <a:avLst>
            <a:gd name="adj1" fmla="val 2353"/>
            <a:gd name="adj2" fmla="val 284170"/>
            <a:gd name="adj3" fmla="val 19540320"/>
            <a:gd name="adj4" fmla="val 12575511"/>
            <a:gd name="adj5" fmla="val 2745"/>
          </a:avLst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shade val="51000"/>
                <a:satMod val="130000"/>
              </a:schemeClr>
            </a:gs>
            <a:gs pos="80000">
              <a:schemeClr val="accent5">
                <a:hueOff val="-9933876"/>
                <a:satOff val="39811"/>
                <a:lumOff val="8628"/>
                <a:alphaOff val="0"/>
                <a:shade val="93000"/>
                <a:satMod val="13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29F68A5-ADBE-4599-99DF-D8525FB412D6}">
      <dsp:nvSpPr>
        <dsp:cNvPr id="0" name=""/>
        <dsp:cNvSpPr/>
      </dsp:nvSpPr>
      <dsp:spPr>
        <a:xfrm>
          <a:off x="5565244" y="1906728"/>
          <a:ext cx="1251663" cy="49774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-7450407"/>
                <a:satOff val="29858"/>
                <a:lumOff val="6471"/>
                <a:alphaOff val="0"/>
                <a:shade val="51000"/>
                <a:satMod val="130000"/>
              </a:schemeClr>
            </a:gs>
            <a:gs pos="80000">
              <a:schemeClr val="accent5">
                <a:hueOff val="-7450407"/>
                <a:satOff val="29858"/>
                <a:lumOff val="6471"/>
                <a:alphaOff val="0"/>
                <a:shade val="93000"/>
                <a:satMod val="130000"/>
              </a:schemeClr>
            </a:gs>
            <a:gs pos="100000">
              <a:schemeClr val="accent5">
                <a:hueOff val="-7450407"/>
                <a:satOff val="29858"/>
                <a:lumOff val="647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API</a:t>
          </a:r>
          <a:r>
            <a:rPr lang="zh-CN" altLang="en-US" sz="12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开放平台</a:t>
          </a:r>
          <a:endParaRPr lang="zh-CN" altLang="en-US" sz="12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579822" y="1921306"/>
        <a:ext cx="1222507" cy="468589"/>
      </dsp:txXfrm>
    </dsp:sp>
    <dsp:sp modelId="{FD588A91-540A-4297-91B7-095A7B34956E}">
      <dsp:nvSpPr>
        <dsp:cNvPr id="0" name=""/>
        <dsp:cNvSpPr/>
      </dsp:nvSpPr>
      <dsp:spPr>
        <a:xfrm>
          <a:off x="7002471" y="2155600"/>
          <a:ext cx="1408121" cy="11614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第三方</a:t>
          </a:r>
          <a:r>
            <a:rPr lang="en-US" altLang="zh-CN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App</a:t>
          </a:r>
          <a:endParaRPr lang="en-US" altLang="zh-CN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个性化应用</a:t>
          </a:r>
          <a:endParaRPr lang="en-US" altLang="zh-CN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b="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增值服务</a:t>
          </a:r>
          <a:endParaRPr lang="en-US" altLang="zh-CN" sz="1000" b="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7029198" y="2182327"/>
        <a:ext cx="1354667" cy="859079"/>
      </dsp:txXfrm>
    </dsp:sp>
    <dsp:sp modelId="{909CAA43-80FB-4049-B4D9-C958C24030FF}">
      <dsp:nvSpPr>
        <dsp:cNvPr id="0" name=""/>
        <dsp:cNvSpPr/>
      </dsp:nvSpPr>
      <dsp:spPr>
        <a:xfrm>
          <a:off x="7315387" y="3068134"/>
          <a:ext cx="1251663" cy="49774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shade val="51000"/>
                <a:satMod val="130000"/>
              </a:schemeClr>
            </a:gs>
            <a:gs pos="80000">
              <a:schemeClr val="accent5">
                <a:hueOff val="-9933876"/>
                <a:satOff val="39811"/>
                <a:lumOff val="8628"/>
                <a:alphaOff val="0"/>
                <a:shade val="93000"/>
                <a:satMod val="13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增值服务平台</a:t>
          </a:r>
          <a:endParaRPr lang="en-US" altLang="zh-CN" sz="12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7329965" y="3082712"/>
        <a:ext cx="1222507" cy="46858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ADBCA0-0578-4875-9EE8-79041AE2CE7F}">
      <dsp:nvSpPr>
        <dsp:cNvPr id="0" name=""/>
        <dsp:cNvSpPr/>
      </dsp:nvSpPr>
      <dsp:spPr>
        <a:xfrm>
          <a:off x="776209" y="429409"/>
          <a:ext cx="253912" cy="253912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…</a:t>
          </a:r>
          <a:endParaRPr lang="zh-CN" altLang="en-US" sz="1200" kern="1200" dirty="0"/>
        </a:p>
      </dsp:txBody>
      <dsp:txXfrm>
        <a:off x="813394" y="466594"/>
        <a:ext cx="179542" cy="179542"/>
      </dsp:txXfrm>
    </dsp:sp>
    <dsp:sp modelId="{2645AA87-9D89-49DD-B621-3F5D6F143FD8}">
      <dsp:nvSpPr>
        <dsp:cNvPr id="0" name=""/>
        <dsp:cNvSpPr/>
      </dsp:nvSpPr>
      <dsp:spPr>
        <a:xfrm>
          <a:off x="0" y="293678"/>
          <a:ext cx="486538" cy="486538"/>
        </a:xfrm>
        <a:prstGeom prst="ellipse">
          <a:avLst/>
        </a:prstGeom>
        <a:solidFill>
          <a:schemeClr val="accent4">
            <a:hueOff val="-744128"/>
            <a:satOff val="4483"/>
            <a:lumOff val="3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200" kern="1200" dirty="0"/>
        </a:p>
      </dsp:txBody>
      <dsp:txXfrm>
        <a:off x="71252" y="364930"/>
        <a:ext cx="344034" cy="344034"/>
      </dsp:txXfrm>
    </dsp:sp>
    <dsp:sp modelId="{C6EB4829-7589-447A-8D3E-C1843E00B2C2}">
      <dsp:nvSpPr>
        <dsp:cNvPr id="0" name=""/>
        <dsp:cNvSpPr/>
      </dsp:nvSpPr>
      <dsp:spPr>
        <a:xfrm>
          <a:off x="538935" y="0"/>
          <a:ext cx="1112732" cy="1112732"/>
        </a:xfrm>
        <a:prstGeom prst="ellipse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照明模式</a:t>
          </a:r>
          <a:endParaRPr lang="zh-CN" altLang="en-US" sz="18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701891" y="162956"/>
        <a:ext cx="786820" cy="786820"/>
      </dsp:txXfrm>
    </dsp:sp>
    <dsp:sp modelId="{BB944FBC-3BEA-48F5-B354-C9A190447CA6}">
      <dsp:nvSpPr>
        <dsp:cNvPr id="0" name=""/>
        <dsp:cNvSpPr/>
      </dsp:nvSpPr>
      <dsp:spPr>
        <a:xfrm>
          <a:off x="1729863" y="313096"/>
          <a:ext cx="486538" cy="486538"/>
        </a:xfrm>
        <a:prstGeom prst="ellipse">
          <a:avLst/>
        </a:prstGeom>
        <a:solidFill>
          <a:schemeClr val="accent4">
            <a:hueOff val="-2232385"/>
            <a:satOff val="13449"/>
            <a:lumOff val="107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200" kern="1200" dirty="0"/>
        </a:p>
      </dsp:txBody>
      <dsp:txXfrm>
        <a:off x="1801115" y="384348"/>
        <a:ext cx="344034" cy="344034"/>
      </dsp:txXfrm>
    </dsp:sp>
    <dsp:sp modelId="{0C40BDF1-C56D-48FB-BEEB-F8345B6252A7}">
      <dsp:nvSpPr>
        <dsp:cNvPr id="0" name=""/>
        <dsp:cNvSpPr/>
      </dsp:nvSpPr>
      <dsp:spPr>
        <a:xfrm>
          <a:off x="2289415" y="0"/>
          <a:ext cx="1112732" cy="1112732"/>
        </a:xfrm>
        <a:prstGeom prst="ellipse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净化模式</a:t>
          </a:r>
          <a:endParaRPr lang="zh-CN" altLang="en-US" sz="18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452371" y="162956"/>
        <a:ext cx="786820" cy="786820"/>
      </dsp:txXfrm>
    </dsp:sp>
    <dsp:sp modelId="{28F96C13-A107-4499-894A-37011DA0B390}">
      <dsp:nvSpPr>
        <dsp:cNvPr id="0" name=""/>
        <dsp:cNvSpPr/>
      </dsp:nvSpPr>
      <dsp:spPr>
        <a:xfrm>
          <a:off x="3492505" y="313096"/>
          <a:ext cx="486538" cy="486538"/>
        </a:xfrm>
        <a:prstGeom prst="ellipse">
          <a:avLst/>
        </a:prstGeom>
        <a:solidFill>
          <a:schemeClr val="accent4">
            <a:hueOff val="-3720641"/>
            <a:satOff val="22416"/>
            <a:lumOff val="179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 </a:t>
          </a:r>
          <a:endParaRPr lang="zh-CN" altLang="en-US" sz="1200" kern="1200" dirty="0"/>
        </a:p>
      </dsp:txBody>
      <dsp:txXfrm>
        <a:off x="3563757" y="384348"/>
        <a:ext cx="344034" cy="344034"/>
      </dsp:txXfrm>
    </dsp:sp>
    <dsp:sp modelId="{9E95B8A4-0814-4730-94C5-15BE3231FBF5}">
      <dsp:nvSpPr>
        <dsp:cNvPr id="0" name=""/>
        <dsp:cNvSpPr/>
      </dsp:nvSpPr>
      <dsp:spPr>
        <a:xfrm>
          <a:off x="4019096" y="0"/>
          <a:ext cx="1112732" cy="1112732"/>
        </a:xfrm>
        <a:prstGeom prst="ellipse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制冷模式</a:t>
          </a:r>
          <a:endParaRPr lang="zh-CN" altLang="en-US" sz="18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182052" y="162956"/>
        <a:ext cx="786820" cy="7868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DF84B3-CE09-42D4-9EB7-58871428E1C2}">
      <dsp:nvSpPr>
        <dsp:cNvPr id="0" name=""/>
        <dsp:cNvSpPr/>
      </dsp:nvSpPr>
      <dsp:spPr>
        <a:xfrm>
          <a:off x="2160243" y="3443"/>
          <a:ext cx="1153042" cy="749477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一个</a:t>
          </a:r>
          <a:r>
            <a:rPr lang="en-US" altLang="zh-CN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App</a:t>
          </a: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控制所有智能设备</a:t>
          </a:r>
          <a:endParaRPr lang="zh-CN" altLang="en-US" sz="1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196829" y="40029"/>
        <a:ext cx="1079870" cy="676305"/>
      </dsp:txXfrm>
    </dsp:sp>
    <dsp:sp modelId="{A900C63B-0E11-416C-AA71-5BDEEA47F8E1}">
      <dsp:nvSpPr>
        <dsp:cNvPr id="0" name=""/>
        <dsp:cNvSpPr/>
      </dsp:nvSpPr>
      <dsp:spPr>
        <a:xfrm>
          <a:off x="599374" y="378181"/>
          <a:ext cx="4273858" cy="4273858"/>
        </a:xfrm>
        <a:custGeom>
          <a:avLst/>
          <a:gdLst/>
          <a:ahLst/>
          <a:cxnLst/>
          <a:rect l="0" t="0" r="0" b="0"/>
          <a:pathLst>
            <a:path>
              <a:moveTo>
                <a:pt x="2721517" y="81515"/>
              </a:moveTo>
              <a:arcTo wR="2136929" hR="2136929" stAng="17152589" swAng="1253454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AEA3DC-237E-4460-A009-29892FBA9010}">
      <dsp:nvSpPr>
        <dsp:cNvPr id="0" name=""/>
        <dsp:cNvSpPr/>
      </dsp:nvSpPr>
      <dsp:spPr>
        <a:xfrm>
          <a:off x="3830501" y="808018"/>
          <a:ext cx="1153042" cy="749477"/>
        </a:xfrm>
        <a:prstGeom prst="roundRect">
          <a:avLst/>
        </a:prstGeom>
        <a:gradFill rotWithShape="0">
          <a:gsLst>
            <a:gs pos="0">
              <a:schemeClr val="accent4">
                <a:hueOff val="-744128"/>
                <a:satOff val="4483"/>
                <a:lumOff val="359"/>
                <a:alphaOff val="0"/>
                <a:shade val="51000"/>
                <a:satMod val="130000"/>
              </a:schemeClr>
            </a:gs>
            <a:gs pos="80000">
              <a:schemeClr val="accent4">
                <a:hueOff val="-744128"/>
                <a:satOff val="4483"/>
                <a:lumOff val="359"/>
                <a:alphaOff val="0"/>
                <a:shade val="93000"/>
                <a:satMod val="130000"/>
              </a:schemeClr>
            </a:gs>
            <a:gs pos="100000">
              <a:schemeClr val="accent4">
                <a:hueOff val="-744128"/>
                <a:satOff val="4483"/>
                <a:lumOff val="35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随时随地的</a:t>
          </a:r>
          <a:endParaRPr lang="en-US" altLang="zh-CN" sz="10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远程管理</a:t>
          </a:r>
          <a:endParaRPr lang="zh-CN" altLang="en-US" sz="1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867087" y="844604"/>
        <a:ext cx="1079870" cy="676305"/>
      </dsp:txXfrm>
    </dsp:sp>
    <dsp:sp modelId="{8B243A83-2C02-49B1-8010-1819CCC4108A}">
      <dsp:nvSpPr>
        <dsp:cNvPr id="0" name=""/>
        <dsp:cNvSpPr/>
      </dsp:nvSpPr>
      <dsp:spPr>
        <a:xfrm>
          <a:off x="599374" y="378181"/>
          <a:ext cx="4273858" cy="4273858"/>
        </a:xfrm>
        <a:custGeom>
          <a:avLst/>
          <a:gdLst/>
          <a:ahLst/>
          <a:cxnLst/>
          <a:rect l="0" t="0" r="0" b="0"/>
          <a:pathLst>
            <a:path>
              <a:moveTo>
                <a:pt x="4052104" y="1188998"/>
              </a:moveTo>
              <a:arcTo wR="2136929" hR="2136929" stAng="20019991" swAng="1724781"/>
            </a:path>
          </a:pathLst>
        </a:custGeom>
        <a:noFill/>
        <a:ln w="9525" cap="flat" cmpd="sng" algn="ctr">
          <a:solidFill>
            <a:schemeClr val="accent4">
              <a:hueOff val="-744128"/>
              <a:satOff val="4483"/>
              <a:lumOff val="359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837B74-F2A9-4F23-9643-DFFAB6B5E577}">
      <dsp:nvSpPr>
        <dsp:cNvPr id="0" name=""/>
        <dsp:cNvSpPr/>
      </dsp:nvSpPr>
      <dsp:spPr>
        <a:xfrm>
          <a:off x="4243135" y="2615884"/>
          <a:ext cx="1153042" cy="749477"/>
        </a:xfrm>
        <a:prstGeom prst="roundRect">
          <a:avLst/>
        </a:prstGeom>
        <a:gradFill rotWithShape="0">
          <a:gsLst>
            <a:gs pos="0">
              <a:schemeClr val="accent4">
                <a:hueOff val="-1488257"/>
                <a:satOff val="8966"/>
                <a:lumOff val="719"/>
                <a:alphaOff val="0"/>
                <a:shade val="51000"/>
                <a:satMod val="130000"/>
              </a:schemeClr>
            </a:gs>
            <a:gs pos="80000">
              <a:schemeClr val="accent4">
                <a:hueOff val="-1488257"/>
                <a:satOff val="8966"/>
                <a:lumOff val="719"/>
                <a:alphaOff val="0"/>
                <a:shade val="93000"/>
                <a:satMod val="130000"/>
              </a:schemeClr>
            </a:gs>
            <a:gs pos="100000">
              <a:schemeClr val="accent4">
                <a:hueOff val="-1488257"/>
                <a:satOff val="8966"/>
                <a:lumOff val="71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众多穿戴设备的</a:t>
          </a:r>
          <a:endParaRPr lang="en-US" altLang="zh-CN" sz="10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接入健康档案生成</a:t>
          </a:r>
          <a:endParaRPr lang="zh-CN" altLang="en-US" sz="1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279721" y="2652470"/>
        <a:ext cx="1079870" cy="676305"/>
      </dsp:txXfrm>
    </dsp:sp>
    <dsp:sp modelId="{84C8CA98-BAAA-4691-9DE3-B19F4E1D4E24}">
      <dsp:nvSpPr>
        <dsp:cNvPr id="0" name=""/>
        <dsp:cNvSpPr/>
      </dsp:nvSpPr>
      <dsp:spPr>
        <a:xfrm>
          <a:off x="599374" y="378181"/>
          <a:ext cx="4273858" cy="4273858"/>
        </a:xfrm>
        <a:custGeom>
          <a:avLst/>
          <a:gdLst/>
          <a:ahLst/>
          <a:cxnLst/>
          <a:rect l="0" t="0" r="0" b="0"/>
          <a:pathLst>
            <a:path>
              <a:moveTo>
                <a:pt x="4094008" y="2995014"/>
              </a:moveTo>
              <a:arcTo wR="2136929" hR="2136929" stAng="1420509" swAng="1356896"/>
            </a:path>
          </a:pathLst>
        </a:custGeom>
        <a:noFill/>
        <a:ln w="9525" cap="flat" cmpd="sng" algn="ctr">
          <a:solidFill>
            <a:schemeClr val="accent4">
              <a:hueOff val="-1488257"/>
              <a:satOff val="8966"/>
              <a:lumOff val="719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AC05DC-97BB-4E89-AE16-30DEB785D55A}">
      <dsp:nvSpPr>
        <dsp:cNvPr id="0" name=""/>
        <dsp:cNvSpPr/>
      </dsp:nvSpPr>
      <dsp:spPr>
        <a:xfrm>
          <a:off x="3086961" y="4065679"/>
          <a:ext cx="1153042" cy="749477"/>
        </a:xfrm>
        <a:prstGeom prst="roundRect">
          <a:avLst/>
        </a:prstGeom>
        <a:gradFill rotWithShape="0">
          <a:gsLst>
            <a:gs pos="0">
              <a:schemeClr val="accent4">
                <a:hueOff val="-2232385"/>
                <a:satOff val="13449"/>
                <a:lumOff val="1078"/>
                <a:alphaOff val="0"/>
                <a:shade val="51000"/>
                <a:satMod val="130000"/>
              </a:schemeClr>
            </a:gs>
            <a:gs pos="80000">
              <a:schemeClr val="accent4">
                <a:hueOff val="-2232385"/>
                <a:satOff val="13449"/>
                <a:lumOff val="1078"/>
                <a:alphaOff val="0"/>
                <a:shade val="93000"/>
                <a:satMod val="130000"/>
              </a:schemeClr>
            </a:gs>
            <a:gs pos="100000">
              <a:schemeClr val="accent4">
                <a:hueOff val="-2232385"/>
                <a:satOff val="13449"/>
                <a:lumOff val="107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个人信息的云端存储与智能设备互动</a:t>
          </a:r>
          <a:endParaRPr lang="zh-CN" altLang="en-US" sz="1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123547" y="4102265"/>
        <a:ext cx="1079870" cy="676305"/>
      </dsp:txXfrm>
    </dsp:sp>
    <dsp:sp modelId="{1E1E6EB6-F618-4108-92CF-C269224A8A49}">
      <dsp:nvSpPr>
        <dsp:cNvPr id="0" name=""/>
        <dsp:cNvSpPr/>
      </dsp:nvSpPr>
      <dsp:spPr>
        <a:xfrm>
          <a:off x="599374" y="378181"/>
          <a:ext cx="4273858" cy="4273858"/>
        </a:xfrm>
        <a:custGeom>
          <a:avLst/>
          <a:gdLst/>
          <a:ahLst/>
          <a:cxnLst/>
          <a:rect l="0" t="0" r="0" b="0"/>
          <a:pathLst>
            <a:path>
              <a:moveTo>
                <a:pt x="2480667" y="4246031"/>
              </a:moveTo>
              <a:arcTo wR="2136929" hR="2136929" stAng="4844605" swAng="1110790"/>
            </a:path>
          </a:pathLst>
        </a:custGeom>
        <a:noFill/>
        <a:ln w="9525" cap="flat" cmpd="sng" algn="ctr">
          <a:solidFill>
            <a:schemeClr val="accent4">
              <a:hueOff val="-2232385"/>
              <a:satOff val="13449"/>
              <a:lumOff val="107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677D1D-DCAE-4A56-80C2-7477DB0B1FA2}">
      <dsp:nvSpPr>
        <dsp:cNvPr id="0" name=""/>
        <dsp:cNvSpPr/>
      </dsp:nvSpPr>
      <dsp:spPr>
        <a:xfrm>
          <a:off x="1232603" y="4065679"/>
          <a:ext cx="1153042" cy="749477"/>
        </a:xfrm>
        <a:prstGeom prst="roundRect">
          <a:avLst/>
        </a:prstGeom>
        <a:gradFill rotWithShape="0">
          <a:gsLst>
            <a:gs pos="0">
              <a:schemeClr val="accent4">
                <a:hueOff val="-2976513"/>
                <a:satOff val="17933"/>
                <a:lumOff val="1437"/>
                <a:alphaOff val="0"/>
                <a:shade val="51000"/>
                <a:satMod val="130000"/>
              </a:schemeClr>
            </a:gs>
            <a:gs pos="80000">
              <a:schemeClr val="accent4">
                <a:hueOff val="-2976513"/>
                <a:satOff val="17933"/>
                <a:lumOff val="1437"/>
                <a:alphaOff val="0"/>
                <a:shade val="93000"/>
                <a:satMod val="130000"/>
              </a:schemeClr>
            </a:gs>
            <a:gs pos="100000">
              <a:schemeClr val="accent4">
                <a:hueOff val="-2976513"/>
                <a:satOff val="17933"/>
                <a:lumOff val="143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获取汽车车况信息和个人驾驶行为</a:t>
          </a:r>
          <a:endParaRPr lang="zh-CN" altLang="en-US" sz="1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269189" y="4102265"/>
        <a:ext cx="1079870" cy="676305"/>
      </dsp:txXfrm>
    </dsp:sp>
    <dsp:sp modelId="{0AD58076-5FC7-4188-BCC7-36DF51EC37B0}">
      <dsp:nvSpPr>
        <dsp:cNvPr id="0" name=""/>
        <dsp:cNvSpPr/>
      </dsp:nvSpPr>
      <dsp:spPr>
        <a:xfrm>
          <a:off x="599374" y="378181"/>
          <a:ext cx="4273858" cy="4273858"/>
        </a:xfrm>
        <a:custGeom>
          <a:avLst/>
          <a:gdLst/>
          <a:ahLst/>
          <a:cxnLst/>
          <a:rect l="0" t="0" r="0" b="0"/>
          <a:pathLst>
            <a:path>
              <a:moveTo>
                <a:pt x="660295" y="3681603"/>
              </a:moveTo>
              <a:arcTo wR="2136929" hR="2136929" stAng="8022595" swAng="1356896"/>
            </a:path>
          </a:pathLst>
        </a:custGeom>
        <a:noFill/>
        <a:ln w="9525" cap="flat" cmpd="sng" algn="ctr">
          <a:solidFill>
            <a:schemeClr val="accent4">
              <a:hueOff val="-2976513"/>
              <a:satOff val="17933"/>
              <a:lumOff val="1437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1E41EA-B69F-4AA5-BB78-A9311E538121}">
      <dsp:nvSpPr>
        <dsp:cNvPr id="0" name=""/>
        <dsp:cNvSpPr/>
      </dsp:nvSpPr>
      <dsp:spPr>
        <a:xfrm>
          <a:off x="76430" y="2615884"/>
          <a:ext cx="1153042" cy="749477"/>
        </a:xfrm>
        <a:prstGeom prst="roundRect">
          <a:avLst/>
        </a:prstGeom>
        <a:gradFill rotWithShape="0">
          <a:gsLst>
            <a:gs pos="0">
              <a:schemeClr val="accent4">
                <a:hueOff val="-3720641"/>
                <a:satOff val="22416"/>
                <a:lumOff val="1797"/>
                <a:alphaOff val="0"/>
                <a:shade val="51000"/>
                <a:satMod val="130000"/>
              </a:schemeClr>
            </a:gs>
            <a:gs pos="80000">
              <a:schemeClr val="accent4">
                <a:hueOff val="-3720641"/>
                <a:satOff val="22416"/>
                <a:lumOff val="1797"/>
                <a:alphaOff val="0"/>
                <a:shade val="93000"/>
                <a:satMod val="130000"/>
              </a:schemeClr>
            </a:gs>
            <a:gs pos="100000">
              <a:schemeClr val="accent4">
                <a:hueOff val="-3720641"/>
                <a:satOff val="22416"/>
                <a:lumOff val="179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不同设备的</a:t>
          </a:r>
          <a:endParaRPr lang="en-US" altLang="zh-CN" sz="10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状态自动感知</a:t>
          </a:r>
          <a:endParaRPr lang="en-US" altLang="zh-CN" sz="10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互联互通</a:t>
          </a:r>
          <a:endParaRPr lang="zh-CN" altLang="en-US" sz="1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13016" y="2652470"/>
        <a:ext cx="1079870" cy="676305"/>
      </dsp:txXfrm>
    </dsp:sp>
    <dsp:sp modelId="{C1317122-1F68-4C40-A514-90D6484A7BB5}">
      <dsp:nvSpPr>
        <dsp:cNvPr id="0" name=""/>
        <dsp:cNvSpPr/>
      </dsp:nvSpPr>
      <dsp:spPr>
        <a:xfrm>
          <a:off x="599374" y="378181"/>
          <a:ext cx="4273858" cy="4273858"/>
        </a:xfrm>
        <a:custGeom>
          <a:avLst/>
          <a:gdLst/>
          <a:ahLst/>
          <a:cxnLst/>
          <a:rect l="0" t="0" r="0" b="0"/>
          <a:pathLst>
            <a:path>
              <a:moveTo>
                <a:pt x="1894" y="2226894"/>
              </a:moveTo>
              <a:arcTo wR="2136929" hR="2136929" stAng="10655228" swAng="1724781"/>
            </a:path>
          </a:pathLst>
        </a:custGeom>
        <a:noFill/>
        <a:ln w="9525" cap="flat" cmpd="sng" algn="ctr">
          <a:solidFill>
            <a:schemeClr val="accent4">
              <a:hueOff val="-3720641"/>
              <a:satOff val="22416"/>
              <a:lumOff val="1797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A9DFD1-7A8C-44EB-A88C-CB06E9AF508C}">
      <dsp:nvSpPr>
        <dsp:cNvPr id="0" name=""/>
        <dsp:cNvSpPr/>
      </dsp:nvSpPr>
      <dsp:spPr>
        <a:xfrm>
          <a:off x="489064" y="808018"/>
          <a:ext cx="1153042" cy="749477"/>
        </a:xfrm>
        <a:prstGeom prst="roundRect">
          <a:avLst/>
        </a:prstGeom>
        <a:gradFill rotWithShape="0">
          <a:gsLst>
            <a:gs pos="0">
              <a:schemeClr val="accent4">
                <a:hueOff val="-4464770"/>
                <a:satOff val="26899"/>
                <a:lumOff val="2156"/>
                <a:alphaOff val="0"/>
                <a:shade val="51000"/>
                <a:satMod val="130000"/>
              </a:schemeClr>
            </a:gs>
            <a:gs pos="80000">
              <a:schemeClr val="accent4">
                <a:hueOff val="-4464770"/>
                <a:satOff val="26899"/>
                <a:lumOff val="2156"/>
                <a:alphaOff val="0"/>
                <a:shade val="93000"/>
                <a:satMod val="130000"/>
              </a:schemeClr>
            </a:gs>
            <a:gs pos="100000">
              <a:schemeClr val="accent4">
                <a:hueOff val="-4464770"/>
                <a:satOff val="26899"/>
                <a:lumOff val="215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便捷的智能设备</a:t>
          </a:r>
          <a:endParaRPr lang="en-US" altLang="zh-CN" sz="10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发现和配置</a:t>
          </a:r>
          <a:endParaRPr lang="zh-CN" altLang="en-US" sz="1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25650" y="844604"/>
        <a:ext cx="1079870" cy="676305"/>
      </dsp:txXfrm>
    </dsp:sp>
    <dsp:sp modelId="{463BF2E8-EC2A-45B8-BE5B-BF23D97D40F7}">
      <dsp:nvSpPr>
        <dsp:cNvPr id="0" name=""/>
        <dsp:cNvSpPr/>
      </dsp:nvSpPr>
      <dsp:spPr>
        <a:xfrm>
          <a:off x="599374" y="378181"/>
          <a:ext cx="4273858" cy="4273858"/>
        </a:xfrm>
        <a:custGeom>
          <a:avLst/>
          <a:gdLst/>
          <a:ahLst/>
          <a:cxnLst/>
          <a:rect l="0" t="0" r="0" b="0"/>
          <a:pathLst>
            <a:path>
              <a:moveTo>
                <a:pt x="857840" y="425088"/>
              </a:moveTo>
              <a:arcTo wR="2136929" hR="2136929" stAng="13993973" swAng="1254962"/>
            </a:path>
          </a:pathLst>
        </a:custGeom>
        <a:noFill/>
        <a:ln w="9525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3DEC26-485B-4719-ACDC-EE543928F050}">
      <dsp:nvSpPr>
        <dsp:cNvPr id="0" name=""/>
        <dsp:cNvSpPr/>
      </dsp:nvSpPr>
      <dsp:spPr>
        <a:xfrm>
          <a:off x="1255" y="398743"/>
          <a:ext cx="1476972" cy="590789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健康数据监测</a:t>
          </a:r>
          <a:endParaRPr lang="zh-CN" altLang="en-US" sz="11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255" y="398743"/>
        <a:ext cx="1329275" cy="590789"/>
      </dsp:txXfrm>
    </dsp:sp>
    <dsp:sp modelId="{55CAF10A-165A-4A82-82BF-3C2A56E03F25}">
      <dsp:nvSpPr>
        <dsp:cNvPr id="0" name=""/>
        <dsp:cNvSpPr/>
      </dsp:nvSpPr>
      <dsp:spPr>
        <a:xfrm>
          <a:off x="1182833" y="398743"/>
          <a:ext cx="1476972" cy="590789"/>
        </a:xfrm>
        <a:prstGeom prst="chevron">
          <a:avLst/>
        </a:prstGeom>
        <a:solidFill>
          <a:schemeClr val="accent5">
            <a:hueOff val="-1655646"/>
            <a:satOff val="6635"/>
            <a:lumOff val="143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健康食谱</a:t>
          </a:r>
          <a:endParaRPr lang="en-US" altLang="zh-CN" sz="11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推荐</a:t>
          </a:r>
          <a:endParaRPr lang="zh-CN" altLang="en-US" sz="11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478228" y="398743"/>
        <a:ext cx="886183" cy="590789"/>
      </dsp:txXfrm>
    </dsp:sp>
    <dsp:sp modelId="{F0F589BD-EADD-4E5C-8958-B2B47254E1F0}">
      <dsp:nvSpPr>
        <dsp:cNvPr id="0" name=""/>
        <dsp:cNvSpPr/>
      </dsp:nvSpPr>
      <dsp:spPr>
        <a:xfrm>
          <a:off x="2364411" y="398743"/>
          <a:ext cx="1476972" cy="590789"/>
        </a:xfrm>
        <a:prstGeom prst="chevron">
          <a:avLst/>
        </a:prstGeom>
        <a:solidFill>
          <a:schemeClr val="accent5">
            <a:hueOff val="-3311292"/>
            <a:satOff val="13270"/>
            <a:lumOff val="28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健康食品</a:t>
          </a:r>
          <a:endParaRPr lang="en-US" altLang="zh-CN" sz="11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产地可视化</a:t>
          </a:r>
          <a:endParaRPr lang="zh-CN" altLang="en-US" sz="11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659806" y="398743"/>
        <a:ext cx="886183" cy="590789"/>
      </dsp:txXfrm>
    </dsp:sp>
    <dsp:sp modelId="{0F341863-A872-4AB0-ACC8-0E0A0BC691CD}">
      <dsp:nvSpPr>
        <dsp:cNvPr id="0" name=""/>
        <dsp:cNvSpPr/>
      </dsp:nvSpPr>
      <dsp:spPr>
        <a:xfrm>
          <a:off x="3545989" y="398743"/>
          <a:ext cx="1476972" cy="590789"/>
        </a:xfrm>
        <a:prstGeom prst="chevron">
          <a:avLst/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京东生鲜配送</a:t>
          </a:r>
          <a:endParaRPr lang="zh-CN" altLang="en-US" sz="11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841384" y="398743"/>
        <a:ext cx="886183" cy="590789"/>
      </dsp:txXfrm>
    </dsp:sp>
    <dsp:sp modelId="{FAF3E495-378A-4469-A77C-767D0684B71B}">
      <dsp:nvSpPr>
        <dsp:cNvPr id="0" name=""/>
        <dsp:cNvSpPr/>
      </dsp:nvSpPr>
      <dsp:spPr>
        <a:xfrm>
          <a:off x="4727567" y="398743"/>
          <a:ext cx="1476972" cy="590789"/>
        </a:xfrm>
        <a:prstGeom prst="chevron">
          <a:avLst/>
        </a:prstGeom>
        <a:solidFill>
          <a:schemeClr val="accent5">
            <a:hueOff val="-6622584"/>
            <a:satOff val="26541"/>
            <a:lumOff val="57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运动计划指导</a:t>
          </a:r>
          <a:endParaRPr lang="zh-CN" altLang="en-US" sz="11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022962" y="398743"/>
        <a:ext cx="886183" cy="590789"/>
      </dsp:txXfrm>
    </dsp:sp>
    <dsp:sp modelId="{B3A69018-9451-4386-97FE-D9FE2BDECE5D}">
      <dsp:nvSpPr>
        <dsp:cNvPr id="0" name=""/>
        <dsp:cNvSpPr/>
      </dsp:nvSpPr>
      <dsp:spPr>
        <a:xfrm>
          <a:off x="5909145" y="398743"/>
          <a:ext cx="1476972" cy="590789"/>
        </a:xfrm>
        <a:prstGeom prst="chevron">
          <a:avLst/>
        </a:prstGeom>
        <a:solidFill>
          <a:schemeClr val="accent5">
            <a:hueOff val="-8278230"/>
            <a:satOff val="33176"/>
            <a:lumOff val="7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健康咨询</a:t>
          </a:r>
          <a:endParaRPr lang="zh-CN" altLang="en-US" sz="11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204540" y="398743"/>
        <a:ext cx="886183" cy="590789"/>
      </dsp:txXfrm>
    </dsp:sp>
    <dsp:sp modelId="{160E0DB1-F4A6-487E-A377-A9E58D1632E6}">
      <dsp:nvSpPr>
        <dsp:cNvPr id="0" name=""/>
        <dsp:cNvSpPr/>
      </dsp:nvSpPr>
      <dsp:spPr>
        <a:xfrm>
          <a:off x="7090724" y="398743"/>
          <a:ext cx="1476972" cy="590789"/>
        </a:xfrm>
        <a:prstGeom prst="chevron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每日好睡眠</a:t>
          </a:r>
          <a:endParaRPr lang="zh-CN" altLang="en-US" sz="11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7386119" y="398743"/>
        <a:ext cx="886183" cy="5907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循环流程"/>
  <dgm:desc val="用于显示流程中的顺序步骤。限制为 11 个级别 1 形状，级别 2 形状数目不受限制。非常适合于少量文本。不使用的文本不出现，但是在切换版式后仍然可用。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1/layout/InterconnectedBlockProcess">
  <dgm:title val="互联块流程"/>
  <dgm:desc val="用于显示流程中的顺序步骤。非常适用于少量级别 1 文本和适量级别 2 文本。"/>
  <dgm:catLst>
    <dgm:cat type="process" pri="5500"/>
    <dgm:cat type="officeonline" pri="3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  <dgm:cxn modelId="70" srcId="0" destId="40" srcOrd="2" destOrd="0"/>
        <dgm:cxn modelId="42" srcId="40" destId="41" srcOrd="0" destOrd="0"/>
      </dgm:cxnLst>
      <dgm:bg/>
      <dgm:whole/>
    </dgm:dataModel>
  </dgm:clrData>
  <dgm:layoutNode name="Name0">
    <dgm:varLst>
      <dgm:chMax val="7"/>
      <dgm:chPref val="5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4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Accent1" refType="w" fact="0"/>
              <dgm:constr type="t" for="ch" forName="ChildAccent1" refType="h" fact="0.1429"/>
              <dgm:constr type="w" for="ch" forName="ChildAccent1" refType="w"/>
              <dgm:constr type="h" for="ch" forName="ChildAccent1" refType="h" fact="0.8571"/>
              <dgm:constr type="l" for="ch" forName="Child1" refType="w" fact="0.127"/>
              <dgm:constr type="t" for="ch" forName="Child1" refType="h" fact="0.1429"/>
              <dgm:constr type="w" for="ch" forName="Child1" refType="w" fact="0.873"/>
              <dgm:constr type="h" for="ch" forName="Child1" refType="h" fact="0.8571"/>
              <dgm:constr type="l" for="ch" forName="Parent1" refType="w" fact="0"/>
              <dgm:constr type="t" for="ch" forName="Parent1" refType="h" fact="0"/>
              <dgm:constr type="w" for="ch" forName="Parent1" refType="w"/>
              <dgm:constr type="h" for="ch" forName="Parent1" refType="h" fact="0.1429"/>
            </dgm:constrLst>
          </dgm:if>
          <dgm:if name="Name5" axis="ch" ptType="node" func="cnt" op="equ" val="2">
            <dgm:alg type="composite">
              <dgm:param type="ar" val="0.812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ChildAccent1" refType="w" fact="0"/>
              <dgm:constr type="t" for="ch" forName="ChildAccent1" refType="h" fact="0.1613"/>
              <dgm:constr type="w" for="ch" forName="ChildAccent1" refType="w" fact="0.5"/>
              <dgm:constr type="h" for="ch" forName="ChildAccent1" refType="h" fact="0.7742"/>
              <dgm:constr type="l" for="ch" forName="Child1" refType="w" fact="0.0635"/>
              <dgm:constr type="t" for="ch" forName="Child1" refType="h" fact="0.1613"/>
              <dgm:constr type="w" for="ch" forName="Child1" refType="w" fact="0.4365"/>
              <dgm:constr type="h" for="ch" forName="Child1" refType="h" fact="0.7742"/>
              <dgm:constr type="l" for="ch" forName="Parent1" refType="w" fact="0"/>
              <dgm:constr type="t" for="ch" forName="Parent1" refType="h" fact="0.0323"/>
              <dgm:constr type="w" for="ch" forName="Parent1" refType="w" fact="0.5"/>
              <dgm:constr type="h" for="ch" forName="Parent1" refType="h" fact="0.129"/>
              <dgm:constr type="l" for="ch" forName="ChildAccent2" refType="w" fact="0.5"/>
              <dgm:constr type="t" for="ch" forName="ChildAccent2" refType="h" fact="0.1613"/>
              <dgm:constr type="w" for="ch" forName="ChildAccent2" refType="w" fact="0.5"/>
              <dgm:constr type="h" for="ch" forName="ChildAccent2" refType="h" fact="0.8387"/>
              <dgm:constr type="l" for="ch" forName="Child2" refType="w" fact="0.5635"/>
              <dgm:constr type="t" for="ch" forName="Child2" refType="h" fact="0.1613"/>
              <dgm:constr type="w" for="ch" forName="Child2" refType="w" fact="0.4365"/>
              <dgm:constr type="h" for="ch" forName="Child2" refType="h" fact="0.8387"/>
              <dgm:constr type="l" for="ch" forName="Parent2" refType="w" fact="0.5"/>
              <dgm:constr type="t" for="ch" forName="Parent2" refType="h" fact="0"/>
              <dgm:constr type="w" for="ch" forName="Parent2" refType="w" fact="0.5"/>
              <dgm:constr type="h" for="ch" forName="Parent2" refType="h" fact="0.1613"/>
            </dgm:constrLst>
          </dgm:if>
          <dgm:if name="Name6" axis="ch" ptType="node" func="cnt" op="equ" val="3">
            <dgm:alg type="composite">
              <dgm:param type="ar" val="1.112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ChildAccent1" refType="w" fact="0"/>
              <dgm:constr type="t" for="ch" forName="ChildAccent1" refType="h" fact="0.1757"/>
              <dgm:constr type="w" for="ch" forName="ChildAccent1" refType="w" fact="0.3333"/>
              <dgm:constr type="h" for="ch" forName="ChildAccent1" refType="h" fact="0.7066"/>
              <dgm:constr type="l" for="ch" forName="Child1" refType="w" fact="0.0423"/>
              <dgm:constr type="t" for="ch" forName="Child1" refType="h" fact="0.1757"/>
              <dgm:constr type="w" for="ch" forName="Child1" refType="w" fact="0.291"/>
              <dgm:constr type="h" for="ch" forName="Child1" refType="h" fact="0.7066"/>
              <dgm:constr type="l" for="ch" forName="Parent1" refType="w" fact="0"/>
              <dgm:constr type="t" for="ch" forName="Parent1" refType="h" fact="0.0579"/>
              <dgm:constr type="w" for="ch" forName="Parent1" refType="w" fact="0.3333"/>
              <dgm:constr type="h" for="ch" forName="Parent1" refType="h" fact="0.1178"/>
              <dgm:constr type="l" for="ch" forName="ChildAccent2" refType="w" fact="0.3333"/>
              <dgm:constr type="t" for="ch" forName="ChildAccent2" refType="h" fact="0.1757"/>
              <dgm:constr type="w" for="ch" forName="ChildAccent2" refType="w" fact="0.3333"/>
              <dgm:constr type="h" for="ch" forName="ChildAccent2" refType="h" fact="0.7655"/>
              <dgm:constr type="l" for="ch" forName="Child2" refType="w" fact="0.3756"/>
              <dgm:constr type="t" for="ch" forName="Child2" refType="h" fact="0.1757"/>
              <dgm:constr type="w" for="ch" forName="Child2" refType="w" fact="0.291"/>
              <dgm:constr type="h" for="ch" forName="Child2" refType="h" fact="0.7655"/>
              <dgm:constr type="l" for="ch" forName="Parent2" refType="w" fact="0.3333"/>
              <dgm:constr type="t" for="ch" forName="Parent2" refType="h" fact="0.0285"/>
              <dgm:constr type="w" for="ch" forName="Parent2" refType="w" fact="0.3333"/>
              <dgm:constr type="h" for="ch" forName="Parent2" refType="h" fact="0.1472"/>
              <dgm:constr type="l" for="ch" forName="ChildAccent3" refType="w" fact="0.6667"/>
              <dgm:constr type="t" for="ch" forName="ChildAccent3" refType="h" fact="0.1757"/>
              <dgm:constr type="w" for="ch" forName="ChildAccent3" refType="w" fact="0.3333"/>
              <dgm:constr type="h" for="ch" forName="ChildAccent3" refType="h" fact="0.8243"/>
              <dgm:constr type="l" for="ch" forName="Child3" refType="w" fact="0.709"/>
              <dgm:constr type="t" for="ch" forName="Child3" refType="h" fact="0.1757"/>
              <dgm:constr type="w" for="ch" forName="Child3" refType="w" fact="0.291"/>
              <dgm:constr type="h" for="ch" forName="Child3" refType="h" fact="0.8243"/>
              <dgm:constr type="l" for="ch" forName="Parent3" refType="w" fact="0.6667"/>
              <dgm:constr type="t" for="ch" forName="Parent3" refType="h" fact="0"/>
              <dgm:constr type="w" for="ch" forName="Parent3" refType="w" fact="0.3333"/>
              <dgm:constr type="h" for="ch" forName="Parent3" refType="h" fact="0.176"/>
            </dgm:constrLst>
          </dgm:if>
          <dgm:if name="Name7" axis="ch" ptType="node" func="cnt" op="equ" val="4">
            <dgm:alg type="composite">
              <dgm:param type="ar" val="1.3622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ChildAccent1" refType="w" fact="0"/>
              <dgm:constr type="t" for="ch" forName="ChildAccent1" refType="h" fact="0.1892"/>
              <dgm:constr type="w" for="ch" forName="ChildAccent1" refType="w" fact="0.25"/>
              <dgm:constr type="h" for="ch" forName="ChildAccent1" refType="h" fact="0.6486"/>
              <dgm:constr type="l" for="ch" forName="Child1" refType="w" fact="0.0317"/>
              <dgm:constr type="t" for="ch" forName="Child1" refType="h" fact="0.1892"/>
              <dgm:constr type="w" for="ch" forName="Child1" refType="w" fact="0.2183"/>
              <dgm:constr type="h" for="ch" forName="Child1" refType="h" fact="0.6486"/>
              <dgm:constr type="l" for="ch" forName="Parent1" refType="w" fact="0"/>
              <dgm:constr type="t" for="ch" forName="Parent1" refType="h" fact="0.0811"/>
              <dgm:constr type="w" for="ch" forName="Parent1" refType="w" fact="0.25"/>
              <dgm:constr type="h" for="ch" forName="Parent1" refType="h" fact="0.1081"/>
              <dgm:constr type="l" for="ch" forName="ChildAccent2" refType="w" fact="0.25"/>
              <dgm:constr type="t" for="ch" forName="ChildAccent2" refType="h" fact="0.1892"/>
              <dgm:constr type="w" for="ch" forName="ChildAccent2" refType="w" fact="0.25"/>
              <dgm:constr type="h" for="ch" forName="ChildAccent2" refType="h" fact="0.7027"/>
              <dgm:constr type="l" for="ch" forName="Child2" refType="w" fact="0.2817"/>
              <dgm:constr type="t" for="ch" forName="Child2" refType="h" fact="0.1892"/>
              <dgm:constr type="w" for="ch" forName="Child2" refType="w" fact="0.2183"/>
              <dgm:constr type="h" for="ch" forName="Child2" refType="h" fact="0.7027"/>
              <dgm:constr type="l" for="ch" forName="Parent2" refType="w" fact="0.25"/>
              <dgm:constr type="t" for="ch" forName="Parent2" refType="h" fact="0.0541"/>
              <dgm:constr type="w" for="ch" forName="Parent2" refType="w" fact="0.25"/>
              <dgm:constr type="h" for="ch" forName="Parent2" refType="h" fact="0.1351"/>
              <dgm:constr type="l" for="ch" forName="ChildAccent3" refType="w" fact="0.5"/>
              <dgm:constr type="t" for="ch" forName="ChildAccent3" refType="h" fact="0.1892"/>
              <dgm:constr type="w" for="ch" forName="ChildAccent3" refType="w" fact="0.25"/>
              <dgm:constr type="h" for="ch" forName="ChildAccent3" refType="h" fact="0.7568"/>
              <dgm:constr type="l" for="ch" forName="Child3" refType="w" fact="0.5317"/>
              <dgm:constr type="t" for="ch" forName="Child3" refType="h" fact="0.1892"/>
              <dgm:constr type="w" for="ch" forName="Child3" refType="w" fact="0.2183"/>
              <dgm:constr type="h" for="ch" forName="Child3" refType="h" fact="0.7568"/>
              <dgm:constr type="l" for="ch" forName="Parent3" refType="w" fact="0.5"/>
              <dgm:constr type="t" for="ch" forName="Parent3" refType="h" fact="0.0275"/>
              <dgm:constr type="w" for="ch" forName="Parent3" refType="w" fact="0.25"/>
              <dgm:constr type="h" for="ch" forName="Parent3" refType="h" fact="0.1622"/>
              <dgm:constr type="l" for="ch" forName="ChildAccent4" refType="w" fact="0.75"/>
              <dgm:constr type="t" for="ch" forName="ChildAccent4" refType="h" fact="0.1892"/>
              <dgm:constr type="w" for="ch" forName="ChildAccent4" refType="w" fact="0.25"/>
              <dgm:constr type="h" for="ch" forName="ChildAccent4" refType="h" fact="0.8108"/>
              <dgm:constr type="l" for="ch" forName="Child4" refType="w" fact="0.7817"/>
              <dgm:constr type="t" for="ch" forName="Child4" refType="h" fact="0.1892"/>
              <dgm:constr type="w" for="ch" forName="Child4" refType="w" fact="0.2183"/>
              <dgm:constr type="h" for="ch" forName="Child4" refType="h" fact="0.8108"/>
              <dgm:constr type="l" for="ch" forName="Parent4" refType="w" fact="0.75"/>
              <dgm:constr type="t" for="ch" forName="Parent4" refType="h" fact="0"/>
              <dgm:constr type="w" for="ch" forName="Parent4" refType="w" fact="0.25"/>
              <dgm:constr type="h" for="ch" forName="Parent4" refType="h" fact="0.1892"/>
            </dgm:constrLst>
          </dgm:if>
          <dgm:if name="Name8" axis="ch" ptType="node" func="cnt" op="equ" val="5">
            <dgm:alg type="composite">
              <dgm:param type="ar" val="1.5742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ChildAccent1" refType="w" fact="0"/>
              <dgm:constr type="t" for="ch" forName="ChildAccent1" refType="h" fact="0.2"/>
              <dgm:constr type="w" for="ch" forName="ChildAccent1" refType="w" fact="0.2001"/>
              <dgm:constr type="h" for="ch" forName="ChildAccent1" refType="h" fact="0.6"/>
              <dgm:constr type="l" for="ch" forName="Child1" refType="w" fact="0.0254"/>
              <dgm:constr type="t" for="ch" forName="Child1" refType="h" fact="0.2"/>
              <dgm:constr type="w" for="ch" forName="Child1" refType="w" fact="0.1747"/>
              <dgm:constr type="h" for="ch" forName="Child1" refType="h" fact="0.6"/>
              <dgm:constr type="l" for="ch" forName="Parent1" refType="w" fact="0"/>
              <dgm:constr type="t" for="ch" forName="Parent1" refType="h" fact="0.1"/>
              <dgm:constr type="w" for="ch" forName="Parent1" refType="w" fact="0.2001"/>
              <dgm:constr type="h" for="ch" forName="Parent1" refType="h" fact="0.1"/>
              <dgm:constr type="l" for="ch" forName="ChildAccent2" refType="w" fact="0.2001"/>
              <dgm:constr type="t" for="ch" forName="ChildAccent2" refType="h" fact="0.2"/>
              <dgm:constr type="w" for="ch" forName="ChildAccent2" refType="w" fact="0.2001"/>
              <dgm:constr type="h" for="ch" forName="ChildAccent2" refType="h" fact="0.65"/>
              <dgm:constr type="l" for="ch" forName="Child2" refType="w" fact="0.2255"/>
              <dgm:constr type="t" for="ch" forName="Child2" refType="h" fact="0.2"/>
              <dgm:constr type="w" for="ch" forName="Child2" refType="w" fact="0.1747"/>
              <dgm:constr type="h" for="ch" forName="Child2" refType="h" fact="0.65"/>
              <dgm:constr type="l" for="ch" forName="Parent2" refType="w" fact="0.2001"/>
              <dgm:constr type="t" for="ch" forName="Parent2" refType="h" fact="0.075"/>
              <dgm:constr type="w" for="ch" forName="Parent2" refType="w" fact="0.2001"/>
              <dgm:constr type="h" for="ch" forName="Parent2" refType="h" fact="0.125"/>
              <dgm:constr type="l" for="ch" forName="ChildAccent3" refType="w" fact="0.4002"/>
              <dgm:constr type="t" for="ch" forName="ChildAccent3" refType="h" fact="0.2"/>
              <dgm:constr type="w" for="ch" forName="ChildAccent3" refType="w" fact="0.2001"/>
              <dgm:constr type="h" for="ch" forName="ChildAccent3" refType="h" fact="0.7"/>
              <dgm:constr type="l" for="ch" forName="Child3" refType="w" fact="0.4256"/>
              <dgm:constr type="t" for="ch" forName="Child3" refType="h" fact="0.2"/>
              <dgm:constr type="w" for="ch" forName="Child3" refType="w" fact="0.1747"/>
              <dgm:constr type="h" for="ch" forName="Child3" refType="h" fact="0.7"/>
              <dgm:constr type="l" for="ch" forName="Parent3" refType="w" fact="0.4002"/>
              <dgm:constr type="t" for="ch" forName="Parent3" refType="h" fact="0.0508"/>
              <dgm:constr type="w" for="ch" forName="Parent3" refType="w" fact="0.2001"/>
              <dgm:constr type="h" for="ch" forName="Parent3" refType="h" fact="0.15"/>
              <dgm:constr type="l" for="ch" forName="ChildAccent4" refType="w" fact="0.6003"/>
              <dgm:constr type="t" for="ch" forName="ChildAccent4" refType="h" fact="0.2"/>
              <dgm:constr type="w" for="ch" forName="ChildAccent4" refType="w" fact="0.2001"/>
              <dgm:constr type="h" for="ch" forName="ChildAccent4" refType="h" fact="0.75"/>
              <dgm:constr type="l" for="ch" forName="Child4" refType="w" fact="0.6257"/>
              <dgm:constr type="t" for="ch" forName="Child4" refType="h" fact="0.2"/>
              <dgm:constr type="w" for="ch" forName="Child4" refType="w" fact="0.1747"/>
              <dgm:constr type="h" for="ch" forName="Child4" refType="h" fact="0.75"/>
              <dgm:constr type="l" for="ch" forName="Parent4" refType="w" fact="0.6003"/>
              <dgm:constr type="t" for="ch" forName="Parent4" refType="h" fact="0.025"/>
              <dgm:constr type="w" for="ch" forName="Parent4" refType="w" fact="0.2001"/>
              <dgm:constr type="h" for="ch" forName="Parent4" refType="h" fact="0.175"/>
              <dgm:constr type="l" for="ch" forName="ChildAccent5" refType="w" fact="0.7999"/>
              <dgm:constr type="t" for="ch" forName="ChildAccent5" refType="h" fact="0.2"/>
              <dgm:constr type="w" for="ch" forName="ChildAccent5" refType="w" fact="0.2001"/>
              <dgm:constr type="h" for="ch" forName="ChildAccent5" refType="h" fact="0.8"/>
              <dgm:constr type="l" for="ch" forName="Child5" refType="w" fact="0.8253"/>
              <dgm:constr type="t" for="ch" forName="Child5" refType="h" fact="0.2"/>
              <dgm:constr type="w" for="ch" forName="Child5" refType="w" fact="0.1747"/>
              <dgm:constr type="h" for="ch" forName="Child5" refType="h" fact="0.8"/>
              <dgm:constr type="l" for="ch" forName="Parent5" refType="w" fact="0.7999"/>
              <dgm:constr type="t" for="ch" forName="Parent5" refType="h" fact="0"/>
              <dgm:constr type="w" for="ch" forName="Parent5" refType="w" fact="0.2001"/>
              <dgm:constr type="h" for="ch" forName="Parent5" refType="h" fact="0.2"/>
            </dgm:constrLst>
          </dgm:if>
          <dgm:if name="Name9" axis="ch" ptType="node" func="cnt" op="equ" val="6">
            <dgm:alg type="composite">
              <dgm:param type="ar" val="1.756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ChildAccent1" refType="w" fact="0"/>
              <dgm:constr type="t" for="ch" forName="ChildAccent1" refType="h" fact="0.2087"/>
              <dgm:constr type="w" for="ch" forName="ChildAccent1" refType="w" fact="0.167"/>
              <dgm:constr type="h" for="ch" forName="ChildAccent1" refType="h" fact="0.5586"/>
              <dgm:constr type="l" for="ch" forName="Child1" refType="w" fact="0.0212"/>
              <dgm:constr type="t" for="ch" forName="Child1" refType="h" fact="0.2087"/>
              <dgm:constr type="w" for="ch" forName="Child1" refType="w" fact="0.1458"/>
              <dgm:constr type="h" for="ch" forName="Child1" refType="h" fact="0.5586"/>
              <dgm:constr type="l" for="ch" forName="Parent1" refType="w" fact="0"/>
              <dgm:constr type="t" for="ch" forName="Parent1" refType="h" fact="0.1156"/>
              <dgm:constr type="w" for="ch" forName="Parent1" refType="w" fact="0.167"/>
              <dgm:constr type="h" for="ch" forName="Parent1" refType="h" fact="0.0931"/>
              <dgm:constr type="l" for="ch" forName="ChildAccent2" refType="w" fact="0.167"/>
              <dgm:constr type="t" for="ch" forName="ChildAccent2" refType="h" fact="0.2087"/>
              <dgm:constr type="w" for="ch" forName="ChildAccent2" refType="w" fact="0.167"/>
              <dgm:constr type="h" for="ch" forName="ChildAccent2" refType="h" fact="0.6051"/>
              <dgm:constr type="l" for="ch" forName="Child2" refType="w" fact="0.1888"/>
              <dgm:constr type="t" for="ch" forName="Child2" refType="h" fact="0.2087"/>
              <dgm:constr type="w" for="ch" forName="Child2" refType="w" fact="0.1458"/>
              <dgm:constr type="h" for="ch" forName="Child2" refType="h" fact="0.6051"/>
              <dgm:constr type="l" for="ch" forName="Parent2" refType="w" fact="0.167"/>
              <dgm:constr type="t" for="ch" forName="Parent2" refType="h" fact="0.0923"/>
              <dgm:constr type="w" for="ch" forName="Parent2" refType="w" fact="0.167"/>
              <dgm:constr type="h" for="ch" forName="Parent2" refType="h" fact="0.1164"/>
              <dgm:constr type="l" for="ch" forName="ChildAccent3" refType="w" fact="0.3339"/>
              <dgm:constr type="t" for="ch" forName="ChildAccent3" refType="h" fact="0.2087"/>
              <dgm:constr type="w" for="ch" forName="ChildAccent3" refType="w" fact="0.167"/>
              <dgm:constr type="h" for="ch" forName="ChildAccent3" refType="h" fact="0.6517"/>
              <dgm:constr type="l" for="ch" forName="Child3" refType="w" fact="0.3551"/>
              <dgm:constr type="t" for="ch" forName="Child3" refType="h" fact="0.2087"/>
              <dgm:constr type="w" for="ch" forName="Child3" refType="w" fact="0.1458"/>
              <dgm:constr type="h" for="ch" forName="Child3" refType="h" fact="0.6517"/>
              <dgm:constr type="l" for="ch" forName="Parent3" refType="w" fact="0.3339"/>
              <dgm:constr type="t" for="ch" forName="Parent3" refType="h" fact="0.0698"/>
              <dgm:constr type="w" for="ch" forName="Parent3" refType="w" fact="0.167"/>
              <dgm:constr type="h" for="ch" forName="Parent3" refType="h" fact="0.1396"/>
              <dgm:constr type="l" for="ch" forName="ChildAccent4" refType="w" fact="0.5009"/>
              <dgm:constr type="t" for="ch" forName="ChildAccent4" refType="h" fact="0.2087"/>
              <dgm:constr type="w" for="ch" forName="ChildAccent4" refType="w" fact="0.167"/>
              <dgm:constr type="h" for="ch" forName="ChildAccent4" refType="h" fact="0.6982"/>
              <dgm:constr type="l" for="ch" forName="Child4" refType="w" fact="0.5221"/>
              <dgm:constr type="t" for="ch" forName="Child4" refType="h" fact="0.2087"/>
              <dgm:constr type="w" for="ch" forName="Child4" refType="w" fact="0.1458"/>
              <dgm:constr type="h" for="ch" forName="Child4" refType="h" fact="0.6982"/>
              <dgm:constr type="l" for="ch" forName="Parent4" refType="w" fact="0.501"/>
              <dgm:constr type="t" for="ch" forName="Parent4" refType="h" fact="0.0458"/>
              <dgm:constr type="w" for="ch" forName="Parent4" refType="w" fact="0.167"/>
              <dgm:constr type="h" for="ch" forName="Parent4" refType="h" fact="0.1629"/>
              <dgm:constr type="l" for="ch" forName="ChildAccent5" refType="w" fact="0.6674"/>
              <dgm:constr type="t" for="ch" forName="ChildAccent5" refType="h" fact="0.2087"/>
              <dgm:constr type="w" for="ch" forName="ChildAccent5" refType="w" fact="0.167"/>
              <dgm:constr type="h" for="ch" forName="ChildAccent5" refType="h" fact="0.7448"/>
              <dgm:constr type="l" for="ch" forName="Child5" refType="w" fact="0.6886"/>
              <dgm:constr type="t" for="ch" forName="Child5" refType="h" fact="0.2087"/>
              <dgm:constr type="w" for="ch" forName="Child5" refType="w" fact="0.1458"/>
              <dgm:constr type="h" for="ch" forName="Child5" refType="h" fact="0.7448"/>
              <dgm:constr type="l" for="ch" forName="Parent5" refType="w" fact="0.668"/>
              <dgm:constr type="t" for="ch" forName="Parent5" refType="h" fact="0.0225"/>
              <dgm:constr type="w" for="ch" forName="Parent5" refType="w" fact="0.167"/>
              <dgm:constr type="h" for="ch" forName="Parent5" refType="h" fact="0.1862"/>
              <dgm:constr type="l" for="ch" forName="ChildAccent6" refType="w" fact="0.833"/>
              <dgm:constr type="t" for="ch" forName="ChildAccent6" refType="h" fact="0.2087"/>
              <dgm:constr type="w" for="ch" forName="ChildAccent6" refType="w" fact="0.167"/>
              <dgm:constr type="h" for="ch" forName="ChildAccent6" refType="h" fact="0.7913"/>
              <dgm:constr type="l" for="ch" forName="Child6" refType="w" fact="0.8542"/>
              <dgm:constr type="t" for="ch" forName="Child6" refType="h" fact="0.2087"/>
              <dgm:constr type="w" for="ch" forName="Child6" refType="w" fact="0.1458"/>
              <dgm:constr type="h" for="ch" forName="Child6" refType="h" fact="0.7913"/>
              <dgm:constr type="l" for="ch" forName="Parent6" refType="w" fact="0.835"/>
              <dgm:constr type="t" for="ch" forName="Parent6" refType="h" fact="0"/>
              <dgm:constr type="w" for="ch" forName="Parent6" refType="w" fact="0.165"/>
              <dgm:constr type="h" for="ch" forName="Parent6" refType="h" fact="0.2095"/>
            </dgm:constrLst>
          </dgm:if>
          <dgm:else name="Name10">
            <dgm:alg type="composite">
              <dgm:param type="ar" val="1.91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ChildAccent1" refType="w" fact="0"/>
              <dgm:constr type="t" for="ch" forName="ChildAccent1" refType="h" fact="0.2168"/>
              <dgm:constr type="w" for="ch" forName="ChildAccent1" refType="w" fact="0.1432"/>
              <dgm:constr type="h" for="ch" forName="ChildAccent1" refType="h" fact="0.5221"/>
              <dgm:constr type="l" for="ch" forName="Child1" refType="w" fact="0.0182"/>
              <dgm:constr type="t" for="ch" forName="Child1" refType="h" fact="0.2168"/>
              <dgm:constr type="w" for="ch" forName="Child1" refType="w" fact="0.125"/>
              <dgm:constr type="h" for="ch" forName="Child1" refType="h" fact="0.5221"/>
              <dgm:constr type="l" for="ch" forName="Parent1" refType="w" fact="0"/>
              <dgm:constr type="t" for="ch" forName="Parent1" refType="h" fact="0.1298"/>
              <dgm:constr type="w" for="ch" forName="Parent1" refType="w" fact="0.1432"/>
              <dgm:constr type="h" for="ch" forName="Parent1" refType="h" fact="0.087"/>
              <dgm:constr type="l" for="ch" forName="ChildAccent2" refType="w" fact="0.1432"/>
              <dgm:constr type="t" for="ch" forName="ChildAccent2" refType="h" fact="0.2168"/>
              <dgm:constr type="w" for="ch" forName="ChildAccent2" refType="w" fact="0.1432"/>
              <dgm:constr type="h" for="ch" forName="ChildAccent2" refType="h" fact="0.5656"/>
              <dgm:constr type="l" for="ch" forName="Child2" refType="w" fact="0.1614"/>
              <dgm:constr type="t" for="ch" forName="Child2" refType="h" fact="0.2168"/>
              <dgm:constr type="w" for="ch" forName="Child2" refType="w" fact="0.125"/>
              <dgm:constr type="h" for="ch" forName="Child2" refType="h" fact="0.5656"/>
              <dgm:constr type="l" for="ch" forName="Parent2" refType="w" fact="0.1432"/>
              <dgm:constr type="t" for="ch" forName="Parent2" refType="h" fact="0.108"/>
              <dgm:constr type="w" for="ch" forName="Parent2" refType="w" fact="0.1432"/>
              <dgm:constr type="h" for="ch" forName="Parent2" refType="h" fact="0.1088"/>
              <dgm:constr type="l" for="ch" forName="ChildAccent3" refType="w" fact="0.2865"/>
              <dgm:constr type="t" for="ch" forName="ChildAccent3" refType="h" fact="0.2168"/>
              <dgm:constr type="w" for="ch" forName="ChildAccent3" refType="w" fact="0.1432"/>
              <dgm:constr type="h" for="ch" forName="ChildAccent3" refType="h" fact="0.6091"/>
              <dgm:constr type="l" for="ch" forName="Child3" refType="w" fact="0.3047"/>
              <dgm:constr type="t" for="ch" forName="Child3" refType="h" fact="0.2168"/>
              <dgm:constr type="w" for="ch" forName="Child3" refType="w" fact="0.125"/>
              <dgm:constr type="h" for="ch" forName="Child3" refType="h" fact="0.6091"/>
              <dgm:constr type="l" for="ch" forName="Parent3" refType="w" fact="0.2865"/>
              <dgm:constr type="t" for="ch" forName="Parent3" refType="h" fact="0.087"/>
              <dgm:constr type="w" for="ch" forName="Parent3" refType="w" fact="0.1432"/>
              <dgm:constr type="h" for="ch" forName="Parent3" refType="h" fact="0.1305"/>
              <dgm:constr type="l" for="ch" forName="ChildAccent4" refType="w" fact="0.4297"/>
              <dgm:constr type="t" for="ch" forName="ChildAccent4" refType="h" fact="0.2168"/>
              <dgm:constr type="w" for="ch" forName="ChildAccent4" refType="w" fact="0.1432"/>
              <dgm:constr type="h" for="ch" forName="ChildAccent4" refType="h" fact="0.6526"/>
              <dgm:constr type="l" for="ch" forName="Child4" refType="w" fact="0.4479"/>
              <dgm:constr type="t" for="ch" forName="Child4" refType="h" fact="0.2168"/>
              <dgm:constr type="w" for="ch" forName="Child4" refType="w" fact="0.125"/>
              <dgm:constr type="h" for="ch" forName="Child4" refType="h" fact="0.6526"/>
              <dgm:constr type="l" for="ch" forName="Parent4" refType="w" fact="0.4297"/>
              <dgm:constr type="t" for="ch" forName="Parent4" refType="h" fact="0.0645"/>
              <dgm:constr type="w" for="ch" forName="Parent4" refType="w" fact="0.1432"/>
              <dgm:constr type="h" for="ch" forName="Parent4" refType="h" fact="0.1523"/>
              <dgm:constr type="l" for="ch" forName="ChildAccent5" refType="w" fact="0.5726"/>
              <dgm:constr type="t" for="ch" forName="ChildAccent5" refType="h" fact="0.2168"/>
              <dgm:constr type="w" for="ch" forName="ChildAccent5" refType="w" fact="0.1432"/>
              <dgm:constr type="h" for="ch" forName="ChildAccent5" refType="h" fact="0.6962"/>
              <dgm:constr type="l" for="ch" forName="Child5" refType="w" fact="0.5908"/>
              <dgm:constr type="t" for="ch" forName="Child5" refType="h" fact="0.2168"/>
              <dgm:constr type="w" for="ch" forName="Child5" refType="w" fact="0.125"/>
              <dgm:constr type="h" for="ch" forName="Child5" refType="h" fact="0.6962"/>
              <dgm:constr type="l" for="ch" forName="Parent5" refType="w" fact="0.5726"/>
              <dgm:constr type="t" for="ch" forName="Parent5" refType="h" fact="0.0428"/>
              <dgm:constr type="w" for="ch" forName="Parent5" refType="w" fact="0.1432"/>
              <dgm:constr type="h" for="ch" forName="Parent5" refType="h" fact="0.174"/>
              <dgm:constr type="l" for="ch" forName="ChildAccent6" refType="w" fact="0.7147"/>
              <dgm:constr type="t" for="ch" forName="ChildAccent6" refType="h" fact="0.2168"/>
              <dgm:constr type="w" for="ch" forName="ChildAccent6" refType="w" fact="0.1432"/>
              <dgm:constr type="h" for="ch" forName="ChildAccent6" refType="h" fact="0.7397"/>
              <dgm:constr type="l" for="ch" forName="Child6" refType="w" fact="0.7329"/>
              <dgm:constr type="t" for="ch" forName="Child6" refType="h" fact="0.2168"/>
              <dgm:constr type="w" for="ch" forName="Child6" refType="w" fact="0.125"/>
              <dgm:constr type="h" for="ch" forName="Child6" refType="h" fact="0.7397"/>
              <dgm:constr type="l" for="ch" forName="Parent6" refType="w" fact="0.716"/>
              <dgm:constr type="t" for="ch" forName="Parent6" refType="h" fact="0.0217"/>
              <dgm:constr type="w" for="ch" forName="Parent6" refType="w" fact="0.1424"/>
              <dgm:constr type="h" for="ch" forName="Parent6" refType="h" fact="0.1958"/>
              <dgm:constr type="l" for="ch" forName="ChildAccent7" refType="w" fact="0.8568"/>
              <dgm:constr type="t" for="ch" forName="ChildAccent7" refType="h" fact="0.2168"/>
              <dgm:constr type="w" for="ch" forName="ChildAccent7" refType="w" fact="0.1432"/>
              <dgm:constr type="h" for="ch" forName="ChildAccent7" refType="h" fact="0.7832"/>
              <dgm:constr type="l" for="ch" forName="Child7" refType="w" fact="0.875"/>
              <dgm:constr type="t" for="ch" forName="Child7" refType="h" fact="0.2168"/>
              <dgm:constr type="w" for="ch" forName="Child7" refType="w" fact="0.125"/>
              <dgm:constr type="h" for="ch" forName="Child7" refType="h" fact="0.7832"/>
              <dgm:constr type="l" for="ch" forName="Parent7" refType="w" fact="0.8577"/>
              <dgm:constr type="t" for="ch" forName="Parent7" refType="h" fact="0"/>
              <dgm:constr type="w" for="ch" forName="Parent7" refType="w" fact="0.1423"/>
              <dgm:constr type="h" for="ch" forName="Parent7" refType="h" fact="0.2175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0.4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Accent1" refType="w" fact="0"/>
              <dgm:constr type="t" for="ch" forName="ChildAccent1" refType="h" fact="0.1429"/>
              <dgm:constr type="w" for="ch" forName="ChildAccent1" refType="w"/>
              <dgm:constr type="h" for="ch" forName="ChildAccent1" refType="h" fact="0.8571"/>
              <dgm:constr type="l" for="ch" forName="Child1" refType="w" fact="0"/>
              <dgm:constr type="t" for="ch" forName="Child1" refType="h" fact="0.1429"/>
              <dgm:constr type="w" for="ch" forName="Child1" refType="w" fact="0.873"/>
              <dgm:constr type="h" for="ch" forName="Child1" refType="h" fact="0.8571"/>
              <dgm:constr type="l" for="ch" forName="Parent1" refType="w" fact="0"/>
              <dgm:constr type="t" for="ch" forName="Parent1" refType="h" fact="0"/>
              <dgm:constr type="w" for="ch" forName="Parent1" refType="w"/>
              <dgm:constr type="h" for="ch" forName="Parent1" refType="h" fact="0.1429"/>
            </dgm:constrLst>
          </dgm:if>
          <dgm:if name="Name14" axis="ch" ptType="node" func="cnt" op="equ" val="2">
            <dgm:alg type="composite">
              <dgm:param type="ar" val="0.812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Child2" refType="w" fact="0"/>
              <dgm:constr type="t" for="ch" forName="Child2" refType="h" fact="0.1613"/>
              <dgm:constr type="w" for="ch" forName="Child2" refType="w" fact="0.4365"/>
              <dgm:constr type="h" for="ch" forName="Child2" refType="h" fact="0.8387"/>
              <dgm:constr type="l" for="ch" forName="Child1" refType="w" fact="0.5"/>
              <dgm:constr type="t" for="ch" forName="Child1" refType="h" fact="0.1613"/>
              <dgm:constr type="w" for="ch" forName="Child1" refType="w" fact="0.4365"/>
              <dgm:constr type="h" for="ch" forName="Child1" refType="h" fact="0.7742"/>
              <dgm:constr type="l" for="ch" forName="ChildAccent1" refType="w" fact="0.5"/>
              <dgm:constr type="t" for="ch" forName="ChildAccent1" refType="h" fact="0.1613"/>
              <dgm:constr type="w" for="ch" forName="ChildAccent1" refType="w" fact="0.5"/>
              <dgm:constr type="h" for="ch" forName="ChildAccent1" refType="h" fact="0.7742"/>
              <dgm:constr type="l" for="ch" forName="Parent1" refType="w" fact="0.5"/>
              <dgm:constr type="t" for="ch" forName="Parent1" refType="h" fact="0.0323"/>
              <dgm:constr type="w" for="ch" forName="Parent1" refType="w" fact="0.5"/>
              <dgm:constr type="h" for="ch" forName="Parent1" refType="h" fact="0.129"/>
              <dgm:constr type="l" for="ch" forName="ChildAccent2" refType="w" fact="0"/>
              <dgm:constr type="t" for="ch" forName="ChildAccent2" refType="h" fact="0.1613"/>
              <dgm:constr type="w" for="ch" forName="ChildAccent2" refType="w" fact="0.5"/>
              <dgm:constr type="h" for="ch" forName="ChildAccent2" refType="h" fact="0.8387"/>
              <dgm:constr type="l" for="ch" forName="Parent2" refType="w" fact="0"/>
              <dgm:constr type="t" for="ch" forName="Parent2" refType="h" fact="0"/>
              <dgm:constr type="w" for="ch" forName="Parent2" refType="w" fact="0.5"/>
              <dgm:constr type="h" for="ch" forName="Parent2" refType="h" fact="0.1613"/>
            </dgm:constrLst>
          </dgm:if>
          <dgm:if name="Name15" axis="ch" ptType="node" func="cnt" op="equ" val="3">
            <dgm:alg type="composite">
              <dgm:param type="ar" val="1.112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Child3" refType="w" fact="0"/>
              <dgm:constr type="t" for="ch" forName="Child3" refType="h" fact="0.1757"/>
              <dgm:constr type="w" for="ch" forName="Child3" refType="w" fact="0.291"/>
              <dgm:constr type="h" for="ch" forName="Child3" refType="h" fact="0.8243"/>
              <dgm:constr type="l" for="ch" forName="Child2" refType="w" fact="0.3333"/>
              <dgm:constr type="t" for="ch" forName="Child2" refType="h" fact="0.1757"/>
              <dgm:constr type="w" for="ch" forName="Child2" refType="w" fact="0.291"/>
              <dgm:constr type="h" for="ch" forName="Child2" refType="h" fact="0.7655"/>
              <dgm:constr type="l" for="ch" forName="Child1" refType="w" fact="0.6667"/>
              <dgm:constr type="t" for="ch" forName="Child1" refType="h" fact="0.1757"/>
              <dgm:constr type="w" for="ch" forName="Child1" refType="w" fact="0.291"/>
              <dgm:constr type="h" for="ch" forName="Child1" refType="h" fact="0.7066"/>
              <dgm:constr type="l" for="ch" forName="ChildAccent1" refType="w" fact="0.6667"/>
              <dgm:constr type="t" for="ch" forName="ChildAccent1" refType="h" fact="0.1757"/>
              <dgm:constr type="w" for="ch" forName="ChildAccent1" refType="w" fact="0.3333"/>
              <dgm:constr type="h" for="ch" forName="ChildAccent1" refType="h" fact="0.7066"/>
              <dgm:constr type="l" for="ch" forName="Parent1" refType="w" fact="0.6667"/>
              <dgm:constr type="t" for="ch" forName="Parent1" refType="h" fact="0.0579"/>
              <dgm:constr type="w" for="ch" forName="Parent1" refType="w" fact="0.3333"/>
              <dgm:constr type="h" for="ch" forName="Parent1" refType="h" fact="0.1178"/>
              <dgm:constr type="l" for="ch" forName="ChildAccent2" refType="w" fact="0.3333"/>
              <dgm:constr type="t" for="ch" forName="ChildAccent2" refType="h" fact="0.1757"/>
              <dgm:constr type="w" for="ch" forName="ChildAccent2" refType="w" fact="0.3333"/>
              <dgm:constr type="h" for="ch" forName="ChildAccent2" refType="h" fact="0.7655"/>
              <dgm:constr type="l" for="ch" forName="Parent2" refType="w" fact="0.3333"/>
              <dgm:constr type="t" for="ch" forName="Parent2" refType="h" fact="0.0285"/>
              <dgm:constr type="w" for="ch" forName="Parent2" refType="w" fact="0.3333"/>
              <dgm:constr type="h" for="ch" forName="Parent2" refType="h" fact="0.1472"/>
              <dgm:constr type="l" for="ch" forName="ChildAccent3" refType="w" fact="0"/>
              <dgm:constr type="t" for="ch" forName="ChildAccent3" refType="h" fact="0.1757"/>
              <dgm:constr type="w" for="ch" forName="ChildAccent3" refType="w" fact="0.3333"/>
              <dgm:constr type="h" for="ch" forName="ChildAccent3" refType="h" fact="0.8243"/>
              <dgm:constr type="l" for="ch" forName="Parent3" refType="w" fact="0"/>
              <dgm:constr type="t" for="ch" forName="Parent3" refType="h" fact="0"/>
              <dgm:constr type="w" for="ch" forName="Parent3" refType="w" fact="0.3333"/>
              <dgm:constr type="h" for="ch" forName="Parent3" refType="h" fact="0.176"/>
            </dgm:constrLst>
          </dgm:if>
          <dgm:if name="Name16" axis="ch" ptType="node" func="cnt" op="equ" val="4">
            <dgm:alg type="composite">
              <dgm:param type="ar" val="1.3622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Child4" refType="w" fact="0"/>
              <dgm:constr type="t" for="ch" forName="Child4" refType="h" fact="0.1892"/>
              <dgm:constr type="w" for="ch" forName="Child4" refType="w" fact="0.2183"/>
              <dgm:constr type="h" for="ch" forName="Child4" refType="h" fact="0.8108"/>
              <dgm:constr type="l" for="ch" forName="Child3" refType="w" fact="0.25"/>
              <dgm:constr type="t" for="ch" forName="Child3" refType="h" fact="0.1892"/>
              <dgm:constr type="w" for="ch" forName="Child3" refType="w" fact="0.2183"/>
              <dgm:constr type="h" for="ch" forName="Child3" refType="h" fact="0.7568"/>
              <dgm:constr type="l" for="ch" forName="Child2" refType="w" fact="0.5"/>
              <dgm:constr type="t" for="ch" forName="Child2" refType="h" fact="0.1892"/>
              <dgm:constr type="w" for="ch" forName="Child2" refType="w" fact="0.2183"/>
              <dgm:constr type="h" for="ch" forName="Child2" refType="h" fact="0.7027"/>
              <dgm:constr type="l" for="ch" forName="Child1" refType="w" fact="0.75"/>
              <dgm:constr type="t" for="ch" forName="Child1" refType="h" fact="0.1892"/>
              <dgm:constr type="w" for="ch" forName="Child1" refType="w" fact="0.2183"/>
              <dgm:constr type="h" for="ch" forName="Child1" refType="h" fact="0.6486"/>
              <dgm:constr type="l" for="ch" forName="ChildAccent1" refType="w" fact="0.75"/>
              <dgm:constr type="t" for="ch" forName="ChildAccent1" refType="h" fact="0.1892"/>
              <dgm:constr type="w" for="ch" forName="ChildAccent1" refType="w" fact="0.25"/>
              <dgm:constr type="h" for="ch" forName="ChildAccent1" refType="h" fact="0.6486"/>
              <dgm:constr type="l" for="ch" forName="Parent1" refType="w" fact="0.75"/>
              <dgm:constr type="t" for="ch" forName="Parent1" refType="h" fact="0.0811"/>
              <dgm:constr type="w" for="ch" forName="Parent1" refType="w" fact="0.25"/>
              <dgm:constr type="h" for="ch" forName="Parent1" refType="h" fact="0.1081"/>
              <dgm:constr type="l" for="ch" forName="ChildAccent2" refType="w" fact="0.5"/>
              <dgm:constr type="t" for="ch" forName="ChildAccent2" refType="h" fact="0.1892"/>
              <dgm:constr type="w" for="ch" forName="ChildAccent2" refType="w" fact="0.25"/>
              <dgm:constr type="h" for="ch" forName="ChildAccent2" refType="h" fact="0.7027"/>
              <dgm:constr type="l" for="ch" forName="Parent2" refType="w" fact="0.5"/>
              <dgm:constr type="t" for="ch" forName="Parent2" refType="h" fact="0.0541"/>
              <dgm:constr type="w" for="ch" forName="Parent2" refType="w" fact="0.25"/>
              <dgm:constr type="h" for="ch" forName="Parent2" refType="h" fact="0.1351"/>
              <dgm:constr type="l" for="ch" forName="ChildAccent3" refType="w" fact="0.25"/>
              <dgm:constr type="t" for="ch" forName="ChildAccent3" refType="h" fact="0.1892"/>
              <dgm:constr type="w" for="ch" forName="ChildAccent3" refType="w" fact="0.25"/>
              <dgm:constr type="h" for="ch" forName="ChildAccent3" refType="h" fact="0.7568"/>
              <dgm:constr type="l" for="ch" forName="Parent3" refType="w" fact="0.25"/>
              <dgm:constr type="t" for="ch" forName="Parent3" refType="h" fact="0.0279"/>
              <dgm:constr type="w" for="ch" forName="Parent3" refType="w" fact="0.25"/>
              <dgm:constr type="h" for="ch" forName="Parent3" refType="h" fact="0.161"/>
              <dgm:constr type="l" for="ch" forName="ChildAccent4" refType="w" fact="0"/>
              <dgm:constr type="t" for="ch" forName="ChildAccent4" refType="h" fact="0.1892"/>
              <dgm:constr type="w" for="ch" forName="ChildAccent4" refType="w" fact="0.25"/>
              <dgm:constr type="h" for="ch" forName="ChildAccent4" refType="h" fact="0.8108"/>
              <dgm:constr type="l" for="ch" forName="Parent4" refType="w" fact="0"/>
              <dgm:constr type="t" for="ch" forName="Parent4" refType="h" fact="0"/>
              <dgm:constr type="w" for="ch" forName="Parent4" refType="w" fact="0.25"/>
              <dgm:constr type="h" for="ch" forName="Parent4" refType="h" fact="0.1892"/>
            </dgm:constrLst>
          </dgm:if>
          <dgm:if name="Name17" axis="ch" ptType="node" func="cnt" op="equ" val="5">
            <dgm:alg type="composite">
              <dgm:param type="ar" val="1.5742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Child5" refType="w" fact="0"/>
              <dgm:constr type="t" for="ch" forName="Child5" refType="h" fact="0.2"/>
              <dgm:constr type="w" for="ch" forName="Child5" refType="w" fact="0.1747"/>
              <dgm:constr type="h" for="ch" forName="Child5" refType="h" fact="0.8"/>
              <dgm:constr type="l" for="ch" forName="Child4" refType="w" fact="0.2001"/>
              <dgm:constr type="t" for="ch" forName="Child4" refType="h" fact="0.2"/>
              <dgm:constr type="w" for="ch" forName="Child4" refType="w" fact="0.1747"/>
              <dgm:constr type="h" for="ch" forName="Child4" refType="h" fact="0.75"/>
              <dgm:constr type="l" for="ch" forName="Child3" refType="w" fact="0.4002"/>
              <dgm:constr type="t" for="ch" forName="Child3" refType="h" fact="0.2"/>
              <dgm:constr type="w" for="ch" forName="Child3" refType="w" fact="0.1747"/>
              <dgm:constr type="h" for="ch" forName="Child3" refType="h" fact="0.7"/>
              <dgm:constr type="l" for="ch" forName="Child2" refType="w" fact="0.6003"/>
              <dgm:constr type="t" for="ch" forName="Child2" refType="h" fact="0.2"/>
              <dgm:constr type="w" for="ch" forName="Child2" refType="w" fact="0.1747"/>
              <dgm:constr type="h" for="ch" forName="Child2" refType="h" fact="0.65"/>
              <dgm:constr type="l" for="ch" forName="Child1" refType="w" fact="0.7999"/>
              <dgm:constr type="t" for="ch" forName="Child1" refType="h" fact="0.2"/>
              <dgm:constr type="w" for="ch" forName="Child1" refType="w" fact="0.1747"/>
              <dgm:constr type="h" for="ch" forName="Child1" refType="h" fact="0.6"/>
              <dgm:constr type="l" for="ch" forName="ChildAccent1" refType="w" fact="0.7999"/>
              <dgm:constr type="t" for="ch" forName="ChildAccent1" refType="h" fact="0.2"/>
              <dgm:constr type="w" for="ch" forName="ChildAccent1" refType="w" fact="0.2001"/>
              <dgm:constr type="h" for="ch" forName="ChildAccent1" refType="h" fact="0.6"/>
              <dgm:constr type="l" for="ch" forName="Parent1" refType="w" fact="0.7999"/>
              <dgm:constr type="t" for="ch" forName="Parent1" refType="h" fact="0.1"/>
              <dgm:constr type="w" for="ch" forName="Parent1" refType="w" fact="0.2001"/>
              <dgm:constr type="h" for="ch" forName="Parent1" refType="h" fact="0.1"/>
              <dgm:constr type="l" for="ch" forName="ChildAccent2" refType="w" fact="0.6003"/>
              <dgm:constr type="t" for="ch" forName="ChildAccent2" refType="h" fact="0.2"/>
              <dgm:constr type="w" for="ch" forName="ChildAccent2" refType="w" fact="0.2001"/>
              <dgm:constr type="h" for="ch" forName="ChildAccent2" refType="h" fact="0.65"/>
              <dgm:constr type="l" for="ch" forName="Parent2" refType="w" fact="0.6003"/>
              <dgm:constr type="t" for="ch" forName="Parent2" refType="h" fact="0.075"/>
              <dgm:constr type="w" for="ch" forName="Parent2" refType="w" fact="0.2001"/>
              <dgm:constr type="h" for="ch" forName="Parent2" refType="h" fact="0.125"/>
              <dgm:constr type="l" for="ch" forName="ChildAccent3" refType="w" fact="0.4002"/>
              <dgm:constr type="t" for="ch" forName="ChildAccent3" refType="h" fact="0.2"/>
              <dgm:constr type="w" for="ch" forName="ChildAccent3" refType="w" fact="0.2001"/>
              <dgm:constr type="h" for="ch" forName="ChildAccent3" refType="h" fact="0.7"/>
              <dgm:constr type="l" for="ch" forName="Parent3" refType="w" fact="0.4002"/>
              <dgm:constr type="t" for="ch" forName="Parent3" refType="h" fact="0.0508"/>
              <dgm:constr type="w" for="ch" forName="Parent3" refType="w" fact="0.2001"/>
              <dgm:constr type="h" for="ch" forName="Parent3" refType="h" fact="0.15"/>
              <dgm:constr type="l" for="ch" forName="ChildAccent4" refType="w" fact="0.2001"/>
              <dgm:constr type="t" for="ch" forName="ChildAccent4" refType="h" fact="0.2"/>
              <dgm:constr type="w" for="ch" forName="ChildAccent4" refType="w" fact="0.2001"/>
              <dgm:constr type="h" for="ch" forName="ChildAccent4" refType="h" fact="0.75"/>
              <dgm:constr type="l" for="ch" forName="Parent4" refType="w" fact="0.2001"/>
              <dgm:constr type="t" for="ch" forName="Parent4" refType="h" fact="0.025"/>
              <dgm:constr type="w" for="ch" forName="Parent4" refType="w" fact="0.2001"/>
              <dgm:constr type="h" for="ch" forName="Parent4" refType="h" fact="0.175"/>
              <dgm:constr type="l" for="ch" forName="ChildAccent5" refType="w" fact="0"/>
              <dgm:constr type="t" for="ch" forName="ChildAccent5" refType="h" fact="0.2"/>
              <dgm:constr type="w" for="ch" forName="ChildAccent5" refType="w" fact="0.2001"/>
              <dgm:constr type="h" for="ch" forName="ChildAccent5" refType="h" fact="0.8"/>
              <dgm:constr type="l" for="ch" forName="Parent5" refType="w" fact="0"/>
              <dgm:constr type="t" for="ch" forName="Parent5" refType="h" fact="0"/>
              <dgm:constr type="w" for="ch" forName="Parent5" refType="w" fact="0.2001"/>
              <dgm:constr type="h" for="ch" forName="Parent5" refType="h" fact="0.2"/>
            </dgm:constrLst>
          </dgm:if>
          <dgm:if name="Name18" axis="ch" ptType="node" func="cnt" op="equ" val="6">
            <dgm:alg type="composite">
              <dgm:param type="ar" val="1.756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Child6" refType="w" fact="0"/>
              <dgm:constr type="t" for="ch" forName="Child6" refType="h" fact="0.2087"/>
              <dgm:constr type="w" for="ch" forName="Child6" refType="w" fact="0.1458"/>
              <dgm:constr type="h" for="ch" forName="Child6" refType="h" fact="0.7913"/>
              <dgm:constr type="l" for="ch" forName="Child5" refType="w" fact="0.167"/>
              <dgm:constr type="t" for="ch" forName="Child5" refType="h" fact="0.2087"/>
              <dgm:constr type="w" for="ch" forName="Child5" refType="w" fact="0.1458"/>
              <dgm:constr type="h" for="ch" forName="Child5" refType="h" fact="0.7448"/>
              <dgm:constr type="l" for="ch" forName="Child4" refType="w" fact="0.3339"/>
              <dgm:constr type="t" for="ch" forName="Child4" refType="h" fact="0.2087"/>
              <dgm:constr type="w" for="ch" forName="Child4" refType="w" fact="0.1458"/>
              <dgm:constr type="h" for="ch" forName="Child4" refType="h" fact="0.6982"/>
              <dgm:constr type="l" for="ch" forName="Child3" refType="w" fact="0.5009"/>
              <dgm:constr type="t" for="ch" forName="Child3" refType="h" fact="0.2087"/>
              <dgm:constr type="w" for="ch" forName="Child3" refType="w" fact="0.1458"/>
              <dgm:constr type="h" for="ch" forName="Child3" refType="h" fact="0.6517"/>
              <dgm:constr type="l" for="ch" forName="Child2" refType="w" fact="0.6674"/>
              <dgm:constr type="t" for="ch" forName="Child2" refType="h" fact="0.2087"/>
              <dgm:constr type="w" for="ch" forName="Child2" refType="w" fact="0.1458"/>
              <dgm:constr type="h" for="ch" forName="Child2" refType="h" fact="0.6051"/>
              <dgm:constr type="l" for="ch" forName="Child1" refType="w" fact="0.833"/>
              <dgm:constr type="t" for="ch" forName="Child1" refType="h" fact="0.2087"/>
              <dgm:constr type="w" for="ch" forName="Child1" refType="w" fact="0.1458"/>
              <dgm:constr type="h" for="ch" forName="Child1" refType="h" fact="0.5586"/>
              <dgm:constr type="l" for="ch" forName="ChildAccent1" refType="w" fact="0.833"/>
              <dgm:constr type="t" for="ch" forName="ChildAccent1" refType="h" fact="0.2087"/>
              <dgm:constr type="w" for="ch" forName="ChildAccent1" refType="w" fact="0.167"/>
              <dgm:constr type="h" for="ch" forName="ChildAccent1" refType="h" fact="0.5586"/>
              <dgm:constr type="l" for="ch" forName="Parent1" refType="w" fact="0.833"/>
              <dgm:constr type="t" for="ch" forName="Parent1" refType="h" fact="0.1156"/>
              <dgm:constr type="w" for="ch" forName="Parent1" refType="w" fact="0.167"/>
              <dgm:constr type="h" for="ch" forName="Parent1" refType="h" fact="0.0931"/>
              <dgm:constr type="l" for="ch" forName="ChildAccent2" refType="w" fact="0.6674"/>
              <dgm:constr type="t" for="ch" forName="ChildAccent2" refType="h" fact="0.2087"/>
              <dgm:constr type="w" for="ch" forName="ChildAccent2" refType="w" fact="0.167"/>
              <dgm:constr type="h" for="ch" forName="ChildAccent2" refType="h" fact="0.6051"/>
              <dgm:constr type="l" for="ch" forName="Parent2" refType="w" fact="0.6674"/>
              <dgm:constr type="t" for="ch" forName="Parent2" refType="h" fact="0.0923"/>
              <dgm:constr type="w" for="ch" forName="Parent2" refType="w" fact="0.165"/>
              <dgm:constr type="h" for="ch" forName="Parent2" refType="h" fact="0.1164"/>
              <dgm:constr type="l" for="ch" forName="ChildAccent3" refType="w" fact="0.5009"/>
              <dgm:constr type="t" for="ch" forName="ChildAccent3" refType="h" fact="0.2087"/>
              <dgm:constr type="w" for="ch" forName="ChildAccent3" refType="w" fact="0.167"/>
              <dgm:constr type="h" for="ch" forName="ChildAccent3" refType="h" fact="0.6517"/>
              <dgm:constr type="l" for="ch" forName="Parent3" refType="w" fact="0.5009"/>
              <dgm:constr type="t" for="ch" forName="Parent3" refType="h" fact="0.0698"/>
              <dgm:constr type="w" for="ch" forName="Parent3" refType="w" fact="0.166"/>
              <dgm:constr type="h" for="ch" forName="Parent3" refType="h" fact="0.1396"/>
              <dgm:constr type="l" for="ch" forName="ChildAccent4" refType="w" fact="0.3339"/>
              <dgm:constr type="t" for="ch" forName="ChildAccent4" refType="h" fact="0.2087"/>
              <dgm:constr type="w" for="ch" forName="ChildAccent4" refType="w" fact="0.167"/>
              <dgm:constr type="h" for="ch" forName="ChildAccent4" refType="h" fact="0.6982"/>
              <dgm:constr type="l" for="ch" forName="Parent4" refType="w" fact="0.3339"/>
              <dgm:constr type="t" for="ch" forName="Parent4" refType="h" fact="0.0458"/>
              <dgm:constr type="w" for="ch" forName="Parent4" refType="w" fact="0.167"/>
              <dgm:constr type="h" for="ch" forName="Parent4" refType="h" fact="0.1629"/>
              <dgm:constr type="l" for="ch" forName="ChildAccent5" refType="w" fact="0.167"/>
              <dgm:constr type="t" for="ch" forName="ChildAccent5" refType="h" fact="0.2087"/>
              <dgm:constr type="w" for="ch" forName="ChildAccent5" refType="w" fact="0.167"/>
              <dgm:constr type="h" for="ch" forName="ChildAccent5" refType="h" fact="0.7448"/>
              <dgm:constr type="l" for="ch" forName="Parent5" refType="w" fact="0.167"/>
              <dgm:constr type="t" for="ch" forName="Parent5" refType="h" fact="0.0225"/>
              <dgm:constr type="w" for="ch" forName="Parent5" refType="w" fact="0.167"/>
              <dgm:constr type="h" for="ch" forName="Parent5" refType="h" fact="0.1862"/>
              <dgm:constr type="l" for="ch" forName="ChildAccent6" refType="w" fact="0"/>
              <dgm:constr type="t" for="ch" forName="ChildAccent6" refType="h" fact="0.2087"/>
              <dgm:constr type="w" for="ch" forName="ChildAccent6" refType="w" fact="0.167"/>
              <dgm:constr type="h" for="ch" forName="ChildAccent6" refType="h" fact="0.7913"/>
              <dgm:constr type="l" for="ch" forName="Parent6" refType="w" fact="0"/>
              <dgm:constr type="t" for="ch" forName="Parent6" refType="h" fact="0"/>
              <dgm:constr type="w" for="ch" forName="Parent6" refType="w" fact="0.167"/>
              <dgm:constr type="h" for="ch" forName="Parent6" refType="h" fact="0.2095"/>
            </dgm:constrLst>
          </dgm:if>
          <dgm:else name="Name19">
            <dgm:alg type="composite">
              <dgm:param type="ar" val="1.91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Child7" refType="w" fact="0"/>
              <dgm:constr type="t" for="ch" forName="Child7" refType="h" fact="0.2168"/>
              <dgm:constr type="w" for="ch" forName="Child7" refType="w" fact="0.125"/>
              <dgm:constr type="h" for="ch" forName="Child7" refType="h" fact="0.7832"/>
              <dgm:constr type="l" for="ch" forName="Child6" refType="w" fact="0.1432"/>
              <dgm:constr type="t" for="ch" forName="Child6" refType="h" fact="0.2168"/>
              <dgm:constr type="w" for="ch" forName="Child6" refType="w" fact="0.125"/>
              <dgm:constr type="h" for="ch" forName="Child6" refType="h" fact="0.7397"/>
              <dgm:constr type="l" for="ch" forName="Child5" refType="w" fact="0.2865"/>
              <dgm:constr type="t" for="ch" forName="Child5" refType="h" fact="0.2168"/>
              <dgm:constr type="w" for="ch" forName="Child5" refType="w" fact="0.125"/>
              <dgm:constr type="h" for="ch" forName="Child5" refType="h" fact="0.6962"/>
              <dgm:constr type="l" for="ch" forName="Child4" refType="w" fact="0.4297"/>
              <dgm:constr type="t" for="ch" forName="Child4" refType="h" fact="0.2168"/>
              <dgm:constr type="w" for="ch" forName="Child4" refType="w" fact="0.125"/>
              <dgm:constr type="h" for="ch" forName="Child4" refType="h" fact="0.6526"/>
              <dgm:constr type="l" for="ch" forName="Child3" refType="w" fact="0.5726"/>
              <dgm:constr type="t" for="ch" forName="Child3" refType="h" fact="0.2168"/>
              <dgm:constr type="w" for="ch" forName="Child3" refType="w" fact="0.125"/>
              <dgm:constr type="h" for="ch" forName="Child3" refType="h" fact="0.6091"/>
              <dgm:constr type="l" for="ch" forName="Child2" refType="w" fact="0.7147"/>
              <dgm:constr type="t" for="ch" forName="Child2" refType="h" fact="0.2168"/>
              <dgm:constr type="w" for="ch" forName="Child2" refType="w" fact="0.125"/>
              <dgm:constr type="h" for="ch" forName="Child2" refType="h" fact="0.5656"/>
              <dgm:constr type="l" for="ch" forName="Child1" refType="w" fact="0.8568"/>
              <dgm:constr type="t" for="ch" forName="Child1" refType="h" fact="0.2168"/>
              <dgm:constr type="w" for="ch" forName="Child1" refType="w" fact="0.125"/>
              <dgm:constr type="h" for="ch" forName="Child1" refType="h" fact="0.5221"/>
              <dgm:constr type="l" for="ch" forName="ChildAccent1" refType="w" fact="0.8568"/>
              <dgm:constr type="t" for="ch" forName="ChildAccent1" refType="h" fact="0.2168"/>
              <dgm:constr type="w" for="ch" forName="ChildAccent1" refType="w" fact="0.1432"/>
              <dgm:constr type="h" for="ch" forName="ChildAccent1" refType="h" fact="0.5221"/>
              <dgm:constr type="l" for="ch" forName="Parent1" refType="w" fact="0.8568"/>
              <dgm:constr type="t" for="ch" forName="Parent1" refType="h" fact="0.1298"/>
              <dgm:constr type="w" for="ch" forName="Parent1" refType="w" fact="0.1432"/>
              <dgm:constr type="h" for="ch" forName="Parent1" refType="h" fact="0.087"/>
              <dgm:constr type="l" for="ch" forName="ChildAccent2" refType="w" fact="0.7147"/>
              <dgm:constr type="t" for="ch" forName="ChildAccent2" refType="h" fact="0.2168"/>
              <dgm:constr type="w" for="ch" forName="ChildAccent2" refType="w" fact="0.1432"/>
              <dgm:constr type="h" for="ch" forName="ChildAccent2" refType="h" fact="0.5656"/>
              <dgm:constr type="l" for="ch" forName="Parent2" refType="w" fact="0.7147"/>
              <dgm:constr type="t" for="ch" forName="Parent2" refType="h" fact="0.108"/>
              <dgm:constr type="w" for="ch" forName="Parent2" refType="w" fact="0.1425"/>
              <dgm:constr type="h" for="ch" forName="Parent2" refType="h" fact="0.1088"/>
              <dgm:constr type="l" for="ch" forName="ChildAccent3" refType="w" fact="0.5726"/>
              <dgm:constr type="t" for="ch" forName="ChildAccent3" refType="h" fact="0.2168"/>
              <dgm:constr type="w" for="ch" forName="ChildAccent3" refType="w" fact="0.1432"/>
              <dgm:constr type="h" for="ch" forName="ChildAccent3" refType="h" fact="0.6091"/>
              <dgm:constr type="l" for="ch" forName="Parent3" refType="w" fact="0.5726"/>
              <dgm:constr type="t" for="ch" forName="Parent3" refType="h" fact="0.087"/>
              <dgm:constr type="w" for="ch" forName="Parent3" refType="w" fact="0.142"/>
              <dgm:constr type="h" for="ch" forName="Parent3" refType="h" fact="0.1305"/>
              <dgm:constr type="l" for="ch" forName="ChildAccent4" refType="w" fact="0.4297"/>
              <dgm:constr type="t" for="ch" forName="ChildAccent4" refType="h" fact="0.2168"/>
              <dgm:constr type="w" for="ch" forName="ChildAccent4" refType="w" fact="0.1432"/>
              <dgm:constr type="h" for="ch" forName="ChildAccent4" refType="h" fact="0.6526"/>
              <dgm:constr type="l" for="ch" forName="Parent4" refType="w" fact="0.4297"/>
              <dgm:constr type="t" for="ch" forName="Parent4" refType="h" fact="0.0645"/>
              <dgm:constr type="w" for="ch" forName="Parent4" refType="w" fact="0.1432"/>
              <dgm:constr type="h" for="ch" forName="Parent4" refType="h" fact="0.1523"/>
              <dgm:constr type="l" for="ch" forName="ChildAccent5" refType="w" fact="0.2865"/>
              <dgm:constr type="t" for="ch" forName="ChildAccent5" refType="h" fact="0.2168"/>
              <dgm:constr type="w" for="ch" forName="ChildAccent5" refType="w" fact="0.1432"/>
              <dgm:constr type="h" for="ch" forName="ChildAccent5" refType="h" fact="0.6962"/>
              <dgm:constr type="l" for="ch" forName="Parent5" refType="w" fact="0.2865"/>
              <dgm:constr type="t" for="ch" forName="Parent5" refType="h" fact="0.0428"/>
              <dgm:constr type="w" for="ch" forName="Parent5" refType="w" fact="0.1432"/>
              <dgm:constr type="h" for="ch" forName="Parent5" refType="h" fact="0.174"/>
              <dgm:constr type="l" for="ch" forName="ChildAccent6" refType="w" fact="0.1432"/>
              <dgm:constr type="t" for="ch" forName="ChildAccent6" refType="h" fact="0.2168"/>
              <dgm:constr type="w" for="ch" forName="ChildAccent6" refType="w" fact="0.1432"/>
              <dgm:constr type="h" for="ch" forName="ChildAccent6" refType="h" fact="0.7397"/>
              <dgm:constr type="l" for="ch" forName="Parent6" refType="w" fact="0.1432"/>
              <dgm:constr type="t" for="ch" forName="Parent6" refType="h" fact="0.0217"/>
              <dgm:constr type="w" for="ch" forName="Parent6" refType="w" fact="0.1432"/>
              <dgm:constr type="h" for="ch" forName="Parent6" refType="h" fact="0.1958"/>
              <dgm:constr type="l" for="ch" forName="ChildAccent7" refType="w" fact="0"/>
              <dgm:constr type="t" for="ch" forName="ChildAccent7" refType="h" fact="0.2168"/>
              <dgm:constr type="w" for="ch" forName="ChildAccent7" refType="w" fact="0.1432"/>
              <dgm:constr type="h" for="ch" forName="ChildAccent7" refType="h" fact="0.7832"/>
              <dgm:constr type="l" for="ch" forName="Parent7" refType="w" fact="0"/>
              <dgm:constr type="t" for="ch" forName="Parent7" refType="h" fact="0"/>
              <dgm:constr type="w" for="ch" forName="Parent7" refType="w" fact="0.1432"/>
              <dgm:constr type="h" for="ch" forName="Parent7" refType="h" fact="0.2175"/>
            </dgm:constrLst>
          </dgm:else>
        </dgm:choose>
      </dgm:else>
    </dgm:choose>
    <dgm:forEach name="wrapper" axis="self" ptType="parTrans">
      <dgm:forEach name="accentRepeat" axis="self">
        <dgm:layoutNode name="ChildAccent" styleLbl="alignImgPlace1">
          <dgm:alg type="sp"/>
          <dgm:choose name="Name20">
            <dgm:if name="Name21" axis="followSib" ptType="node" func="cnt" op="equ" val="0">
              <dgm:shape xmlns:r="http://schemas.openxmlformats.org/officeDocument/2006/relationships" type="wedgeRectCallout" r:blip="">
                <dgm:adjLst>
                  <dgm:adj idx="1" val="0"/>
                  <dgm:adj idx="2" val="0"/>
                </dgm:adjLst>
              </dgm:shape>
            </dgm:if>
            <dgm:else name="Name22">
              <dgm:choose name="Name23">
                <dgm:if name="Name24" axis="precedSib" ptType="node" func="cnt" op="equ" val="6">
                  <dgm:shape xmlns:r="http://schemas.openxmlformats.org/officeDocument/2006/relationships" type="wedgeRectCallout" r:blip="">
                    <dgm:adjLst>
                      <dgm:adj idx="1" val="0"/>
                      <dgm:adj idx="2" val="0"/>
                    </dgm:adjLst>
                  </dgm:shape>
                </dgm:if>
                <dgm:else name="Name25">
                  <dgm:choose name="Name26">
                    <dgm:if name="Name27" func="var" arg="dir" op="equ" val="norm">
                      <dgm:shape xmlns:r="http://schemas.openxmlformats.org/officeDocument/2006/relationships" type="wedgeRectCallout" r:blip="">
                        <dgm:adjLst>
                          <dgm:adj idx="1" val="0.625"/>
                          <dgm:adj idx="2" val="0.2083"/>
                        </dgm:adjLst>
                      </dgm:shape>
                    </dgm:if>
                    <dgm:else name="Name28">
                      <dgm:shape xmlns:r="http://schemas.openxmlformats.org/officeDocument/2006/relationships" type="wedgeRectCallout" r:blip="">
                        <dgm:adjLst>
                          <dgm:adj idx="1" val="-0.625"/>
                          <dgm:adj idx="2" val="0.2083"/>
                        </dgm:adjLst>
                      </dgm:shape>
                    </dgm:else>
                  </dgm:choose>
                </dgm:else>
              </dgm:choose>
            </dgm:else>
          </dgm:choose>
          <dgm:presOf axis="des" ptType="node"/>
        </dgm:layoutNode>
      </dgm:forEach>
    </dgm:forEach>
    <dgm:forEach name="Name29" axis="ch" ptType="node" st="7" cnt="1">
      <dgm:layoutNode name="ChildAccent7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7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33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7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34" axis="ch" ptType="node" st="6" cnt="1">
      <dgm:layoutNode name="ChildAccent6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  <dgm:layoutNode name="Child6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38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6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39" axis="ch" ptType="node" st="5" cnt="1">
      <dgm:layoutNode name="Child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  <dgm:layoutNode name="Child5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43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5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44" axis="ch" ptType="node" st="4" cnt="1">
      <dgm:layoutNode name="ChildAccent4">
        <dgm:alg type="sp"/>
        <dgm:shape xmlns:r="http://schemas.openxmlformats.org/officeDocument/2006/relationships" r:blip="">
          <dgm:adjLst/>
        </dgm:shape>
        <dgm:presOf/>
        <dgm:constrLst/>
        <dgm:forEach name="Name45" ref="accent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48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4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49" axis="ch" ptType="node" st="3" cnt="1">
      <dgm:layoutNode name="ChildAccent3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Child3" styleLbl="revTx">
        <dgm:varLst>
          <dgm:chMax val="0"/>
          <dgm:chPref val="0"/>
          <dgm:bulletEnabled val="1"/>
        </dgm:varLst>
        <dgm:choose name="Name51">
          <dgm:if name="Name52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53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3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54" axis="ch" ptType="node" st="2" cnt="1">
      <dgm:layoutNode name="ChildAccent2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  <dgm:layoutNode name="Child2" styleLbl="revTx">
        <dgm:varLst>
          <dgm:chMax val="0"/>
          <dgm:chPref val="0"/>
          <dgm:bulletEnabled val="1"/>
        </dgm:varLst>
        <dgm:choose name="Name56">
          <dgm:if name="Name57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58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2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59" axis="ch" ptType="node" cnt="1">
      <dgm:layoutNode name="ChildAccent1">
        <dgm:alg type="sp"/>
        <dgm:shape xmlns:r="http://schemas.openxmlformats.org/officeDocument/2006/relationships" r:blip="">
          <dgm:adjLst/>
        </dgm:shape>
        <dgm:presOf/>
        <dgm:constrLst/>
        <dgm:forEach name="Name60" ref="accentRepeat"/>
      </dgm:layoutNode>
      <dgm:layoutNode name="Child1" styleLbl="revTx">
        <dgm:varLst>
          <dgm:chMax val="0"/>
          <dgm:chPref val="0"/>
          <dgm:bulletEnabled val="1"/>
        </dgm:varLst>
        <dgm:choose name="Name61">
          <dgm:if name="Name62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63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1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3/layout/SubStepProcess">
  <dgm:title val=""/>
  <dgm:desc val=""/>
  <dgm:catLst>
    <dgm:cat type="process" pri="122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61" srcId="1" destId="11" srcOrd="0" destOrd="0"/>
        <dgm:cxn modelId="62" srcId="1" destId="12" srcOrd="1" destOrd="0"/>
        <dgm:cxn modelId="7" srcId="0" destId="2" srcOrd="0" destOrd="0"/>
        <dgm:cxn modelId="8" srcId="0" destId="3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8" srcId="0" destId="1" srcOrd="0" destOrd="0"/>
        <dgm:cxn modelId="81" srcId="1" destId="11" srcOrd="0" destOrd="0"/>
        <dgm:cxn modelId="82" srcId="1" destId="12" srcOrd="1" destOrd="0"/>
        <dgm:cxn modelId="9" srcId="0" destId="2" srcOrd="0" destOrd="0"/>
        <dgm:cxn modelId="10" srcId="0" destId="3" srcOrd="0" destOrd="0"/>
        <dgm:cxn modelId="11" srcId="0" destId="4" srcOrd="0" destOrd="0"/>
      </dgm:cxnLst>
      <dgm:bg/>
      <dgm:whole/>
    </dgm:dataModel>
  </dgm:clrData>
  <dgm:layoutNode name="Name0">
    <dgm:varLst>
      <dgm:chMax val="7"/>
      <dgm:dir/>
      <dgm:animOne val="branch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Tx1" refType="w"/>
      <dgm:constr type="w" for="ch" forName="chLin1" refType="w" refFor="ch" refForName="parTx1" fact="1.38"/>
      <dgm:constr type="h" for="ch" forName="chLin1" refType="h"/>
      <dgm:constr type="w" for="ch" forName="spPre1" refType="w" fact="0.27"/>
      <dgm:constr type="w" for="ch" forName="spPost1" refType="w" fact="0.27"/>
      <dgm:constr type="h" for="ch" forName="spPre1" refType="h"/>
      <dgm:constr type="h" for="ch" forName="spPost1" refType="h"/>
      <dgm:constr type="primFontSz" for="ch" forName="parTx1" val="65"/>
      <dgm:constr type="primFontSz" for="des" forName="desTx1" refType="primFontSz" refFor="ch" refForName="parTx1" fact="0.78"/>
      <dgm:constr type="primFontSz" for="des" forName="desTx1" op="equ"/>
      <dgm:constr type="w" for="ch" forName="parTx2" refType="w"/>
      <dgm:constr type="w" for="ch" forName="chLin2" refType="w" refFor="ch" refForName="parTx2" fact="1.38"/>
      <dgm:constr type="h" for="ch" forName="chLin2" refType="h"/>
      <dgm:constr type="w" for="ch" forName="spPre2" refType="w" fact="0.54"/>
      <dgm:constr type="w" for="ch" forName="spPost2" refType="w" fact="0.54"/>
      <dgm:constr type="h" for="ch" forName="spPre2" refType="h"/>
      <dgm:constr type="h" for="ch" forName="spPost2" refType="h"/>
      <dgm:constr type="primFontSz" for="ch" forName="parTx2" refType="primFontSz" refFor="ch" refForName="parTx1" op="equ"/>
      <dgm:constr type="primFontSz" for="des" forName="desTx2" refType="primFontSz" refFor="des" refForName="desTx1" op="equ"/>
      <dgm:constr type="w" for="ch" forName="parTx3" refType="w"/>
      <dgm:constr type="w" for="ch" forName="chLin3" refType="w" refFor="ch" refForName="parTx3" fact="1.38"/>
      <dgm:constr type="h" for="ch" forName="chLin3" refType="h"/>
      <dgm:constr type="w" for="ch" forName="spPre3" refType="w" fact="0.54"/>
      <dgm:constr type="w" for="ch" forName="spPost3" refType="w" fact="0.54"/>
      <dgm:constr type="h" for="ch" forName="spPre3" refType="h"/>
      <dgm:constr type="h" for="ch" forName="spPost3" refType="h"/>
      <dgm:constr type="primFontSz" for="ch" forName="parTx3" refType="primFontSz" refFor="ch" refForName="parTx1" op="equ"/>
      <dgm:constr type="primFontSz" for="des" forName="desTx3" refType="primFontSz" refFor="des" refForName="desTx1" op="equ"/>
      <dgm:constr type="w" for="ch" forName="parTx4" refType="w"/>
      <dgm:constr type="w" for="ch" forName="chLin4" refType="w" refFor="ch" refForName="parTx4" fact="1.38"/>
      <dgm:constr type="h" for="ch" forName="chLin4" refType="h"/>
      <dgm:constr type="w" for="ch" forName="spPre4" refType="w" fact="0.54"/>
      <dgm:constr type="w" for="ch" forName="spPost4" refType="w" fact="0.54"/>
      <dgm:constr type="h" for="ch" forName="spPre4" refType="h"/>
      <dgm:constr type="h" for="ch" forName="spPost4" refType="h"/>
      <dgm:constr type="primFontSz" for="ch" forName="parTx4" refType="primFontSz" refFor="ch" refForName="parTx1" op="equ"/>
      <dgm:constr type="primFontSz" for="des" forName="desTx4" refType="primFontSz" refFor="des" refForName="desTx1" op="equ"/>
      <dgm:constr type="w" for="ch" forName="parTx5" refType="w"/>
      <dgm:constr type="w" for="ch" forName="chLin5" refType="w" refFor="ch" refForName="parTx5" fact="1.38"/>
      <dgm:constr type="h" for="ch" forName="chLin5" refType="h"/>
      <dgm:constr type="w" for="ch" forName="spPre5" refType="w" fact="0.54"/>
      <dgm:constr type="w" for="ch" forName="spPost5" refType="w" fact="0.54"/>
      <dgm:constr type="h" for="ch" forName="spPre5" refType="h"/>
      <dgm:constr type="h" for="ch" forName="spPost5" refType="h"/>
      <dgm:constr type="primFontSz" for="ch" forName="parTx5" refType="primFontSz" refFor="ch" refForName="parTx1" op="equ"/>
      <dgm:constr type="primFontSz" for="des" forName="desTx5" refType="primFontSz" refFor="des" refForName="desTx1" op="equ"/>
      <dgm:constr type="w" for="ch" forName="parTx6" refType="w"/>
      <dgm:constr type="w" for="ch" forName="chLin6" refType="w" refFor="ch" refForName="parTx6" fact="1.38"/>
      <dgm:constr type="h" for="ch" forName="chLin6" refType="h"/>
      <dgm:constr type="w" for="ch" forName="spPre6" refType="w" fact="0.54"/>
      <dgm:constr type="w" for="ch" forName="spPost6" refType="w" fact="0.54"/>
      <dgm:constr type="h" for="ch" forName="spPre6" refType="h"/>
      <dgm:constr type="h" for="ch" forName="spPost6" refType="h"/>
      <dgm:constr type="primFontSz" for="ch" forName="parTx6" refType="primFontSz" refFor="ch" refForName="parTx1" op="equ"/>
      <dgm:constr type="primFontSz" for="des" forName="desTx6" refType="primFontSz" refFor="des" refForName="desTx1" op="equ"/>
      <dgm:constr type="w" for="ch" forName="parTx7" refType="w"/>
      <dgm:constr type="w" for="ch" forName="chLin7" refType="w" refFor="ch" refForName="parTx7" fact="1.38"/>
      <dgm:constr type="h" for="ch" forName="chLin7" refType="h"/>
      <dgm:constr type="w" for="ch" forName="spPre7" refType="w" fact="0.54"/>
      <dgm:constr type="w" for="ch" forName="spPost7" refType="w" fact="0.54"/>
      <dgm:constr type="h" for="ch" forName="spPre7" refType="h"/>
      <dgm:constr type="h" for="ch" forName="spPost7" refType="h"/>
      <dgm:constr type="primFontSz" for="ch" forName="parTx7" refType="primFontSz" refFor="ch" refForName="parTx1" op="equ"/>
      <dgm:constr type="primFontSz" for="des" forName="desTx7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parTx1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7">
            <dgm:if name="Name8" axis="ch" ptType="node" func="cnt" op="gte" val="1">
              <dgm:layoutNode name="spPre1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1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1" refType="w" fact="0.77"/>
                  <dgm:constr type="w" for="ch" forName="top1" refType="w" refFor="ch" refForName="txAndLines1" fact="0.78"/>
                </dgm:constrLst>
                <dgm:forEach name="Name9" axis="ch">
                  <dgm:forEach name="Name10" axis="self" ptType="parTrans">
                    <dgm:layoutNode name="Name11" styleLbl="parChTrans1D1">
                      <dgm:choose name="Name12">
                        <dgm:if name="Name13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1"/>
                          </dgm:alg>
                        </dgm:if>
                        <dgm:else name="Name14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1"/>
                            <dgm:param type="dstNode" val="anchor1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5" axis="self" ptType="node">
                    <dgm:choose name="Name16">
                      <dgm:if name="Name17" axis="par ch" ptType="node node" func="cnt" op="equ" val="1">
                        <dgm:layoutNode name="top1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8"/>
                    </dgm:choose>
                    <dgm:layoutNode name="txAndLines1">
                      <dgm:choose name="Name19">
                        <dgm:if name="Name20" func="var" arg="dir" op="equ" val="norm">
                          <dgm:alg type="lin"/>
                        </dgm:if>
                        <dgm:else name="Name21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22">
                        <dgm:if name="Name23" axis="root ch" ptType="all node" func="cnt" op="gte" val="2">
                          <dgm:constrLst>
                            <dgm:constr type="w" for="ch" forName="anchor1" refType="w"/>
                            <dgm:constr type="w" for="ch" forName="backup1" refType="w" fact="-1"/>
                            <dgm:constr type="w" for="ch" forName="preLine1" refType="w" fact="0.11"/>
                            <dgm:constr type="w" for="ch" forName="desTx1" refType="w" fact="0.78"/>
                            <dgm:constr type="w" for="ch" forName="postLine1" refType="w" fact="0.11"/>
                          </dgm:constrLst>
                        </dgm:if>
                        <dgm:else name="Name24">
                          <dgm:constrLst>
                            <dgm:constr type="w" for="ch" forName="anchor1" refType="w" fact="0.89"/>
                            <dgm:constr type="w" for="ch" forName="backup1" refType="w" fact="-0.89"/>
                            <dgm:constr type="w" for="ch" forName="preLine1" refType="w" fact="0.11"/>
                            <dgm:constr type="w" for="ch" forName="desTx1" refType="w" fact="0.78"/>
                          </dgm:constrLst>
                        </dgm:else>
                      </dgm:choose>
                      <dgm:layoutNode name="anchor1" moveWith="desTx1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1" moveWith="desTx1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1" styleLbl="parChTrans1D1" moveWith="desTx1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1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25">
                        <dgm:if name="Name26" axis="root ch" ptType="all node" func="cnt" op="gte" val="2">
                          <dgm:layoutNode name="postLine1" styleLbl="parChTrans1D1" moveWith="desTx1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27"/>
                      </dgm:choose>
                    </dgm:layoutNode>
                  </dgm:forEach>
                  <dgm:choose name="Name28">
                    <dgm:if name="Name29" axis="root ch" ptType="all node" func="cnt" op="gte" val="2">
                      <dgm:forEach name="Name30" axis="self" ptType="parTrans">
                        <dgm:layoutNode name="Name31" styleLbl="parChTrans1D1">
                          <dgm:choose name="Name32">
                            <dgm:if name="Name33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2"/>
                                <dgm:param type="endSty" val="noArr"/>
                                <dgm:param type="dstNode" val="anchor1"/>
                              </dgm:alg>
                            </dgm:if>
                            <dgm:else name="Name34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2"/>
                                <dgm:param type="dstNode" val="anchor1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35"/>
                  </dgm:choose>
                </dgm:forEach>
              </dgm:layoutNode>
              <dgm:choose name="Name36">
                <dgm:if name="Name37" axis="root ch" ptType="all node" func="cnt" op="gte" val="2">
                  <dgm:layoutNode name="spPost1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38"/>
              </dgm:choose>
            </dgm:if>
            <dgm:else name="Name39"/>
          </dgm:choose>
        </dgm:if>
        <dgm:if name="Name40" axis="self" ptType="node" func="pos" op="equ" val="2">
          <dgm:layoutNode name="parTx2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41">
            <dgm:if name="Name42" axis="ch" ptType="node" func="cnt" op="gte" val="1">
              <dgm:layoutNode name="spPre2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2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2" refType="w" fact="0.77"/>
                  <dgm:constr type="w" for="ch" forName="top2" refType="w" refFor="ch" refForName="txAndLines2" fact="0.78"/>
                </dgm:constrLst>
                <dgm:forEach name="Name43" axis="ch">
                  <dgm:forEach name="Name44" axis="self" ptType="parTrans">
                    <dgm:layoutNode name="Name45" styleLbl="parChTrans1D1">
                      <dgm:choose name="Name46">
                        <dgm:if name="Name47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2"/>
                          </dgm:alg>
                        </dgm:if>
                        <dgm:else name="Name48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2"/>
                            <dgm:param type="dstNode" val="anchor2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49" axis="self" ptType="node">
                    <dgm:choose name="Name50">
                      <dgm:if name="Name51" axis="par ch" ptType="node node" func="cnt" op="equ" val="1">
                        <dgm:layoutNode name="top2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52"/>
                    </dgm:choose>
                    <dgm:layoutNode name="txAndLines2">
                      <dgm:choose name="Name53">
                        <dgm:if name="Name54" func="var" arg="dir" op="equ" val="norm">
                          <dgm:alg type="lin"/>
                        </dgm:if>
                        <dgm:else name="Name55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56">
                        <dgm:if name="Name57" axis="root ch" ptType="all node" func="cnt" op="gte" val="3">
                          <dgm:constrLst>
                            <dgm:constr type="w" for="ch" forName="anchor2" refType="w"/>
                            <dgm:constr type="w" for="ch" forName="backup2" refType="w" fact="-1"/>
                            <dgm:constr type="w" for="ch" forName="preLine2" refType="w" fact="0.11"/>
                            <dgm:constr type="w" for="ch" forName="desTx2" refType="w" fact="0.78"/>
                            <dgm:constr type="w" for="ch" forName="postLine2" refType="w" fact="0.11"/>
                          </dgm:constrLst>
                        </dgm:if>
                        <dgm:else name="Name58">
                          <dgm:constrLst>
                            <dgm:constr type="w" for="ch" forName="anchor2" refType="w" fact="0.89"/>
                            <dgm:constr type="w" for="ch" forName="backup2" refType="w" fact="-0.89"/>
                            <dgm:constr type="w" for="ch" forName="preLine2" refType="w" fact="0.11"/>
                            <dgm:constr type="w" for="ch" forName="desTx2" refType="w" fact="0.78"/>
                          </dgm:constrLst>
                        </dgm:else>
                      </dgm:choose>
                      <dgm:layoutNode name="anchor2" moveWith="desTx2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2" moveWith="desTx2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2" styleLbl="parChTrans1D1" moveWith="desTx2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2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59">
                        <dgm:if name="Name60" axis="root ch" ptType="all node" func="cnt" op="gte" val="3">
                          <dgm:layoutNode name="postLine2" styleLbl="parChTrans1D1" moveWith="desTx2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61"/>
                      </dgm:choose>
                    </dgm:layoutNode>
                  </dgm:forEach>
                  <dgm:choose name="Name62">
                    <dgm:if name="Name63" axis="root ch" ptType="all node" func="cnt" op="gte" val="3">
                      <dgm:forEach name="Name64" axis="self" ptType="parTrans">
                        <dgm:layoutNode name="Name65" styleLbl="parChTrans1D1">
                          <dgm:choose name="Name66">
                            <dgm:if name="Name67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3"/>
                                <dgm:param type="endSty" val="noArr"/>
                                <dgm:param type="dstNode" val="anchor2"/>
                              </dgm:alg>
                            </dgm:if>
                            <dgm:else name="Name68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3"/>
                                <dgm:param type="dstNode" val="anchor2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69"/>
                  </dgm:choose>
                </dgm:forEach>
              </dgm:layoutNode>
              <dgm:choose name="Name70">
                <dgm:if name="Name71" axis="root ch" ptType="all node" func="cnt" op="gte" val="3">
                  <dgm:layoutNode name="spPost2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72"/>
              </dgm:choose>
            </dgm:if>
            <dgm:else name="Name73"/>
          </dgm:choose>
        </dgm:if>
        <dgm:if name="Name74" axis="self" ptType="node" func="pos" op="equ" val="3">
          <dgm:layoutNode name="parTx3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75">
            <dgm:if name="Name76" axis="ch" ptType="node" func="cnt" op="gte" val="1">
              <dgm:layoutNode name="spPre3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3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3" refType="w" fact="0.77"/>
                  <dgm:constr type="w" for="ch" forName="top3" refType="w" refFor="ch" refForName="txAndLines3" fact="0.78"/>
                </dgm:constrLst>
                <dgm:forEach name="Name77" axis="ch">
                  <dgm:forEach name="Name78" axis="self" ptType="parTrans">
                    <dgm:layoutNode name="Name79" styleLbl="parChTrans1D1">
                      <dgm:choose name="Name80">
                        <dgm:if name="Name81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3"/>
                          </dgm:alg>
                        </dgm:if>
                        <dgm:else name="Name82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3"/>
                            <dgm:param type="dstNode" val="anchor3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83" axis="self" ptType="node">
                    <dgm:choose name="Name84">
                      <dgm:if name="Name85" axis="par ch" ptType="node node" func="cnt" op="equ" val="1">
                        <dgm:layoutNode name="top3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86"/>
                    </dgm:choose>
                    <dgm:layoutNode name="txAndLines3">
                      <dgm:choose name="Name87">
                        <dgm:if name="Name88" func="var" arg="dir" op="equ" val="norm">
                          <dgm:alg type="lin"/>
                        </dgm:if>
                        <dgm:else name="Name89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90">
                        <dgm:if name="Name91" axis="root ch" ptType="all node" func="cnt" op="gte" val="4">
                          <dgm:constrLst>
                            <dgm:constr type="w" for="ch" forName="anchor3" refType="w"/>
                            <dgm:constr type="w" for="ch" forName="backup3" refType="w" fact="-1"/>
                            <dgm:constr type="w" for="ch" forName="preLine3" refType="w" fact="0.11"/>
                            <dgm:constr type="w" for="ch" forName="desTx3" refType="w" fact="0.78"/>
                            <dgm:constr type="w" for="ch" forName="postLine3" refType="w" fact="0.11"/>
                          </dgm:constrLst>
                        </dgm:if>
                        <dgm:else name="Name92">
                          <dgm:constrLst>
                            <dgm:constr type="w" for="ch" forName="anchor3" refType="w" fact="0.89"/>
                            <dgm:constr type="w" for="ch" forName="backup3" refType="w" fact="-0.89"/>
                            <dgm:constr type="w" for="ch" forName="preLine3" refType="w" fact="0.11"/>
                            <dgm:constr type="w" for="ch" forName="desTx3" refType="w" fact="0.78"/>
                          </dgm:constrLst>
                        </dgm:else>
                      </dgm:choose>
                      <dgm:layoutNode name="anchor3" moveWith="desTx3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3" moveWith="desTx3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3" styleLbl="parChTrans1D1" moveWith="desTx3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3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93">
                        <dgm:if name="Name94" axis="root ch" ptType="all node" func="cnt" op="gte" val="4">
                          <dgm:layoutNode name="postLine3" styleLbl="parChTrans1D1" moveWith="desTx3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95"/>
                      </dgm:choose>
                    </dgm:layoutNode>
                  </dgm:forEach>
                  <dgm:choose name="Name96">
                    <dgm:if name="Name97" axis="root ch" ptType="all node" func="cnt" op="gte" val="4">
                      <dgm:forEach name="Name98" axis="self" ptType="parTrans">
                        <dgm:layoutNode name="Name99" styleLbl="parChTrans1D1">
                          <dgm:choose name="Name100">
                            <dgm:if name="Name101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4"/>
                                <dgm:param type="endSty" val="noArr"/>
                                <dgm:param type="dstNode" val="anchor3"/>
                              </dgm:alg>
                            </dgm:if>
                            <dgm:else name="Name102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4"/>
                                <dgm:param type="dstNode" val="anchor3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103"/>
                  </dgm:choose>
                </dgm:forEach>
              </dgm:layoutNode>
              <dgm:choose name="Name104">
                <dgm:if name="Name105" axis="root ch" ptType="all node" func="cnt" op="gte" val="4">
                  <dgm:layoutNode name="spPost3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106"/>
              </dgm:choose>
            </dgm:if>
            <dgm:else name="Name107"/>
          </dgm:choose>
        </dgm:if>
        <dgm:if name="Name108" axis="self" ptType="node" func="pos" op="equ" val="4">
          <dgm:layoutNode name="parTx4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109">
            <dgm:if name="Name110" axis="ch" ptType="node" func="cnt" op="gte" val="1">
              <dgm:layoutNode name="spPre4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4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4" refType="w" fact="0.77"/>
                  <dgm:constr type="w" for="ch" forName="top4" refType="w" refFor="ch" refForName="txAndLines4" fact="0.78"/>
                </dgm:constrLst>
                <dgm:forEach name="Name111" axis="ch">
                  <dgm:forEach name="Name112" axis="self" ptType="parTrans">
                    <dgm:layoutNode name="Name113" styleLbl="parChTrans1D1">
                      <dgm:choose name="Name114">
                        <dgm:if name="Name115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4"/>
                          </dgm:alg>
                        </dgm:if>
                        <dgm:else name="Name116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4"/>
                            <dgm:param type="dstNode" val="anchor4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17" axis="self" ptType="node">
                    <dgm:choose name="Name118">
                      <dgm:if name="Name119" axis="par ch" ptType="node node" func="cnt" op="equ" val="1">
                        <dgm:layoutNode name="top4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20"/>
                    </dgm:choose>
                    <dgm:layoutNode name="txAndLines4">
                      <dgm:choose name="Name121">
                        <dgm:if name="Name122" func="var" arg="dir" op="equ" val="norm">
                          <dgm:alg type="lin"/>
                        </dgm:if>
                        <dgm:else name="Name123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124">
                        <dgm:if name="Name125" axis="root ch" ptType="all node" func="cnt" op="gte" val="5">
                          <dgm:constrLst>
                            <dgm:constr type="w" for="ch" forName="anchor4" refType="w"/>
                            <dgm:constr type="w" for="ch" forName="backup4" refType="w" fact="-1"/>
                            <dgm:constr type="w" for="ch" forName="preLine4" refType="w" fact="0.11"/>
                            <dgm:constr type="w" for="ch" forName="desTx4" refType="w" fact="0.78"/>
                            <dgm:constr type="w" for="ch" forName="postLine4" refType="w" fact="0.11"/>
                          </dgm:constrLst>
                        </dgm:if>
                        <dgm:else name="Name126">
                          <dgm:constrLst>
                            <dgm:constr type="w" for="ch" forName="anchor4" refType="w" fact="0.89"/>
                            <dgm:constr type="w" for="ch" forName="backup4" refType="w" fact="-0.89"/>
                            <dgm:constr type="w" for="ch" forName="preLine4" refType="w" fact="0.11"/>
                            <dgm:constr type="w" for="ch" forName="desTx4" refType="w" fact="0.78"/>
                          </dgm:constrLst>
                        </dgm:else>
                      </dgm:choose>
                      <dgm:layoutNode name="anchor4" moveWith="desTx4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4" moveWith="desTx4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4" styleLbl="parChTrans1D1" moveWith="desTx4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4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127">
                        <dgm:if name="Name128" axis="root ch" ptType="all node" func="cnt" op="gte" val="5">
                          <dgm:layoutNode name="postLine4" styleLbl="parChTrans1D1" moveWith="desTx4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129"/>
                      </dgm:choose>
                    </dgm:layoutNode>
                  </dgm:forEach>
                  <dgm:choose name="Name130">
                    <dgm:if name="Name131" axis="root ch" ptType="all node" func="cnt" op="gte" val="5">
                      <dgm:forEach name="Name132" axis="self" ptType="parTrans">
                        <dgm:layoutNode name="Name133" styleLbl="parChTrans1D1">
                          <dgm:choose name="Name134">
                            <dgm:if name="Name135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5"/>
                                <dgm:param type="endSty" val="noArr"/>
                                <dgm:param type="dstNode" val="anchor4"/>
                              </dgm:alg>
                            </dgm:if>
                            <dgm:else name="Name136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5"/>
                                <dgm:param type="dstNode" val="anchor4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137"/>
                  </dgm:choose>
                </dgm:forEach>
              </dgm:layoutNode>
              <dgm:choose name="Name138">
                <dgm:if name="Name139" axis="root ch" ptType="all node" func="cnt" op="gte" val="5">
                  <dgm:layoutNode name="spPost4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140"/>
              </dgm:choose>
            </dgm:if>
            <dgm:else name="Name141"/>
          </dgm:choose>
        </dgm:if>
        <dgm:if name="Name142" axis="self" ptType="node" func="pos" op="equ" val="5">
          <dgm:layoutNode name="parTx5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143">
            <dgm:if name="Name144" axis="ch" ptType="node" func="cnt" op="gte" val="1">
              <dgm:layoutNode name="spPre5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5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5" refType="w" fact="0.77"/>
                  <dgm:constr type="w" for="ch" forName="top5" refType="w" refFor="ch" refForName="txAndLines5" fact="0.78"/>
                </dgm:constrLst>
                <dgm:forEach name="Name145" axis="ch">
                  <dgm:forEach name="Name146" axis="self" ptType="parTrans">
                    <dgm:layoutNode name="Name147" styleLbl="parChTrans1D1">
                      <dgm:choose name="Name148">
                        <dgm:if name="Name149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5"/>
                          </dgm:alg>
                        </dgm:if>
                        <dgm:else name="Name150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5"/>
                            <dgm:param type="dstNode" val="anchor5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51" axis="self" ptType="node">
                    <dgm:choose name="Name152">
                      <dgm:if name="Name153" axis="par ch" ptType="node node" func="cnt" op="equ" val="1">
                        <dgm:layoutNode name="top5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54"/>
                    </dgm:choose>
                    <dgm:layoutNode name="txAndLines5">
                      <dgm:choose name="Name155">
                        <dgm:if name="Name156" func="var" arg="dir" op="equ" val="norm">
                          <dgm:alg type="lin"/>
                        </dgm:if>
                        <dgm:else name="Name157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158">
                        <dgm:if name="Name159" axis="root ch" ptType="all node" func="cnt" op="gte" val="6">
                          <dgm:constrLst>
                            <dgm:constr type="w" for="ch" forName="anchor5" refType="w"/>
                            <dgm:constr type="w" for="ch" forName="backup5" refType="w" fact="-1"/>
                            <dgm:constr type="w" for="ch" forName="preLine5" refType="w" fact="0.11"/>
                            <dgm:constr type="w" for="ch" forName="desTx5" refType="w" fact="0.78"/>
                            <dgm:constr type="w" for="ch" forName="postLine5" refType="w" fact="0.11"/>
                          </dgm:constrLst>
                        </dgm:if>
                        <dgm:else name="Name160">
                          <dgm:constrLst>
                            <dgm:constr type="w" for="ch" forName="anchor5" refType="w" fact="0.89"/>
                            <dgm:constr type="w" for="ch" forName="backup5" refType="w" fact="-0.89"/>
                            <dgm:constr type="w" for="ch" forName="preLine5" refType="w" fact="0.11"/>
                            <dgm:constr type="w" for="ch" forName="desTx5" refType="w" fact="0.78"/>
                          </dgm:constrLst>
                        </dgm:else>
                      </dgm:choose>
                      <dgm:layoutNode name="anchor5" moveWith="desTx5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5" moveWith="desTx5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5" styleLbl="parChTrans1D1" moveWith="desTx5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5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161">
                        <dgm:if name="Name162" axis="root ch" ptType="all node" func="cnt" op="gte" val="6">
                          <dgm:layoutNode name="postLine5" styleLbl="parChTrans1D1" moveWith="desTx5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163"/>
                      </dgm:choose>
                    </dgm:layoutNode>
                  </dgm:forEach>
                  <dgm:choose name="Name164">
                    <dgm:if name="Name165" axis="root ch" ptType="all node" func="cnt" op="gte" val="6">
                      <dgm:forEach name="Name166" axis="self" ptType="parTrans">
                        <dgm:layoutNode name="Name167" styleLbl="parChTrans1D1">
                          <dgm:choose name="Name168">
                            <dgm:if name="Name169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6"/>
                                <dgm:param type="endSty" val="noArr"/>
                                <dgm:param type="dstNode" val="anchor5"/>
                              </dgm:alg>
                            </dgm:if>
                            <dgm:else name="Name170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6"/>
                                <dgm:param type="dstNode" val="anchor5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171"/>
                  </dgm:choose>
                </dgm:forEach>
              </dgm:layoutNode>
              <dgm:choose name="Name172">
                <dgm:if name="Name173" axis="root ch" ptType="all node" func="cnt" op="gte" val="6">
                  <dgm:layoutNode name="spPost5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174"/>
              </dgm:choose>
            </dgm:if>
            <dgm:else name="Name175"/>
          </dgm:choose>
        </dgm:if>
        <dgm:if name="Name176" axis="self" ptType="node" func="pos" op="equ" val="6">
          <dgm:layoutNode name="parTx6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177">
            <dgm:if name="Name178" axis="ch" ptType="node" func="cnt" op="gte" val="1">
              <dgm:layoutNode name="spPre6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6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6" refType="w" fact="0.77"/>
                  <dgm:constr type="w" for="ch" forName="top6" refType="w" refFor="ch" refForName="txAndLines6" fact="0.78"/>
                </dgm:constrLst>
                <dgm:forEach name="Name179" axis="ch">
                  <dgm:forEach name="Name180" axis="self" ptType="parTrans">
                    <dgm:layoutNode name="Name181" styleLbl="parChTrans1D1">
                      <dgm:choose name="Name182">
                        <dgm:if name="Name183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6"/>
                          </dgm:alg>
                        </dgm:if>
                        <dgm:else name="Name184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6"/>
                            <dgm:param type="dstNode" val="anchor6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85" axis="self" ptType="node">
                    <dgm:choose name="Name186">
                      <dgm:if name="Name187" axis="par ch" ptType="node node" func="cnt" op="equ" val="1">
                        <dgm:layoutNode name="top6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88"/>
                    </dgm:choose>
                    <dgm:layoutNode name="txAndLines6">
                      <dgm:choose name="Name189">
                        <dgm:if name="Name190" func="var" arg="dir" op="equ" val="norm">
                          <dgm:alg type="lin"/>
                        </dgm:if>
                        <dgm:else name="Name191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192">
                        <dgm:if name="Name193" axis="root ch" ptType="all node" func="cnt" op="gte" val="7">
                          <dgm:constrLst>
                            <dgm:constr type="w" for="ch" forName="anchor6" refType="w"/>
                            <dgm:constr type="w" for="ch" forName="backup6" refType="w" fact="-1"/>
                            <dgm:constr type="w" for="ch" forName="preLine6" refType="w" fact="0.11"/>
                            <dgm:constr type="w" for="ch" forName="desTx6" refType="w" fact="0.78"/>
                            <dgm:constr type="w" for="ch" forName="postLine6" refType="w" fact="0.11"/>
                          </dgm:constrLst>
                        </dgm:if>
                        <dgm:else name="Name194">
                          <dgm:constrLst>
                            <dgm:constr type="w" for="ch" forName="anchor6" refType="w" fact="0.89"/>
                            <dgm:constr type="w" for="ch" forName="backup6" refType="w" fact="-0.89"/>
                            <dgm:constr type="w" for="ch" forName="preLine6" refType="w" fact="0.11"/>
                            <dgm:constr type="w" for="ch" forName="desTx6" refType="w" fact="0.78"/>
                          </dgm:constrLst>
                        </dgm:else>
                      </dgm:choose>
                      <dgm:layoutNode name="anchor6" moveWith="desTx6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6" moveWith="desTx6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6" styleLbl="parChTrans1D1" moveWith="desTx6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6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195">
                        <dgm:if name="Name196" axis="root ch" ptType="all node" func="cnt" op="gte" val="7">
                          <dgm:layoutNode name="postLine6" styleLbl="parChTrans1D1" moveWith="desTx6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197"/>
                      </dgm:choose>
                    </dgm:layoutNode>
                  </dgm:forEach>
                  <dgm:choose name="Name198">
                    <dgm:if name="Name199" axis="root ch" ptType="all node" func="cnt" op="gte" val="7">
                      <dgm:forEach name="Name200" axis="self" ptType="parTrans">
                        <dgm:layoutNode name="Name201" styleLbl="parChTrans1D1">
                          <dgm:choose name="Name202">
                            <dgm:if name="Name203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7"/>
                                <dgm:param type="endSty" val="noArr"/>
                                <dgm:param type="dstNode" val="anchor6"/>
                              </dgm:alg>
                            </dgm:if>
                            <dgm:else name="Name204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7"/>
                                <dgm:param type="dstNode" val="anchor6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205"/>
                  </dgm:choose>
                </dgm:forEach>
              </dgm:layoutNode>
              <dgm:choose name="Name206">
                <dgm:if name="Name207" axis="root ch" ptType="all node" func="cnt" op="gte" val="7">
                  <dgm:layoutNode name="spPost6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208"/>
              </dgm:choose>
            </dgm:if>
            <dgm:else name="Name209"/>
          </dgm:choose>
        </dgm:if>
        <dgm:if name="Name210" axis="self" ptType="node" func="pos" op="equ" val="7">
          <dgm:layoutNode name="parTx7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211">
            <dgm:if name="Name212" axis="ch" ptType="node" func="cnt" op="gte" val="1">
              <dgm:layoutNode name="spPre7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7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7" refType="w" fact="0.77"/>
                  <dgm:constr type="w" for="ch" forName="top7" refType="w" refFor="ch" refForName="txAndLines7" fact="0.78"/>
                </dgm:constrLst>
                <dgm:forEach name="Name213" axis="ch">
                  <dgm:forEach name="Name214" axis="self" ptType="parTrans">
                    <dgm:layoutNode name="Name215" styleLbl="parChTrans1D1">
                      <dgm:choose name="Name216">
                        <dgm:if name="Name217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7"/>
                          </dgm:alg>
                        </dgm:if>
                        <dgm:else name="Name218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7"/>
                            <dgm:param type="dstNode" val="anchor7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219" axis="self" ptType="node">
                    <dgm:choose name="Name220">
                      <dgm:if name="Name221" axis="par ch" ptType="node node" func="cnt" op="equ" val="1">
                        <dgm:layoutNode name="top7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222"/>
                    </dgm:choose>
                    <dgm:layoutNode name="txAndLines7">
                      <dgm:choose name="Name223">
                        <dgm:if name="Name224" func="var" arg="dir" op="equ" val="norm">
                          <dgm:alg type="lin"/>
                        </dgm:if>
                        <dgm:else name="Name225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w" for="ch" forName="anchor7" refType="w" fact="0.89"/>
                        <dgm:constr type="w" for="ch" forName="backup7" refType="w" fact="-0.89"/>
                        <dgm:constr type="w" for="ch" forName="preLine7" refType="w" fact="0.11"/>
                        <dgm:constr type="w" for="ch" forName="desTx7" refType="w" fact="0.78"/>
                      </dgm:constrLst>
                      <dgm:layoutNode name="anchor7" moveWith="desTx7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7" moveWith="desTx7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7" styleLbl="parChTrans1D1" moveWith="desTx7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7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</dgm:layoutNode>
                  </dgm:forEach>
                </dgm:forEach>
              </dgm:layoutNode>
            </dgm:if>
            <dgm:else name="Name226"/>
          </dgm:choose>
        </dgm:if>
        <dgm:else name="Name227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F2417C-8321-4F49-9CBB-0FDA80167B7A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59351-9BB0-4DCF-9D38-4DCE18CAB0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04280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4/11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30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29"/>
            <a:ext cx="6120680" cy="9001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5"/>
            <a:ext cx="3024188" cy="50323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Box 5"/>
          <p:cNvSpPr txBox="1">
            <a:spLocks noChangeArrowheads="1"/>
          </p:cNvSpPr>
          <p:nvPr userDrawn="1"/>
        </p:nvSpPr>
        <p:spPr bwMode="auto">
          <a:xfrm>
            <a:off x="612777" y="692151"/>
            <a:ext cx="6048375" cy="147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en-US" altLang="zh-CN" sz="6000" dirty="0">
                <a:solidFill>
                  <a:schemeClr val="bg1"/>
                </a:solidFill>
              </a:rPr>
              <a:t>Click to add title</a:t>
            </a:r>
          </a:p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zh-CN" altLang="en-US" sz="3000" dirty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612777" y="2276476"/>
            <a:ext cx="6119813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3000" dirty="0">
                <a:solidFill>
                  <a:schemeClr val="bg1"/>
                </a:solidFill>
              </a:rPr>
              <a:t>Click to add subheading</a:t>
            </a:r>
          </a:p>
          <a:p>
            <a:pPr>
              <a:spcBef>
                <a:spcPct val="50000"/>
              </a:spcBef>
            </a:pPr>
            <a:r>
              <a:rPr lang="zh-CN" altLang="en-US" dirty="0">
                <a:solidFill>
                  <a:schemeClr val="bg1"/>
                </a:solidFill>
                <a:ea typeface="微软雅黑" pitchFamily="34" charset="-122"/>
              </a:rPr>
              <a:t>单击此处添加副标题</a:t>
            </a:r>
          </a:p>
        </p:txBody>
      </p:sp>
      <p:sp>
        <p:nvSpPr>
          <p:cNvPr id="20" name="Text Box 7"/>
          <p:cNvSpPr txBox="1">
            <a:spLocks noChangeArrowheads="1"/>
          </p:cNvSpPr>
          <p:nvPr userDrawn="1"/>
        </p:nvSpPr>
        <p:spPr bwMode="auto">
          <a:xfrm>
            <a:off x="612775" y="4029075"/>
            <a:ext cx="32400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600">
                <a:solidFill>
                  <a:schemeClr val="bg1"/>
                </a:solidFill>
              </a:rPr>
              <a:t>Date / Time</a:t>
            </a:r>
          </a:p>
        </p:txBody>
      </p:sp>
      <p:pic>
        <p:nvPicPr>
          <p:cNvPr id="24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2" y="-9526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2121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0098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59103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9500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4870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025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94259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98274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495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148" name="Picture 4" descr="D:\工作文件\通用\发布会PPT\底部模板136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35" y="1"/>
            <a:ext cx="914846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591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" name="think-cell Slide" r:id="rId5" imgW="216" imgH="216" progId="">
                  <p:embed/>
                </p:oleObj>
              </mc:Choice>
              <mc:Fallback>
                <p:oleObj name="think-cell Slide" r:id="rId5" imgW="216" imgH="216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5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0588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749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78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2126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9408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63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7230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4198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37735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3326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8" y="2472307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69"/>
            <a:ext cx="2000250" cy="85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24946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14472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4/1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3902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71" y="1052736"/>
            <a:ext cx="4041775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8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2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1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49"/>
            <a:ext cx="412936" cy="501651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1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3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3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701" y="-27384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9"/>
            <a:ext cx="3816350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7" y="5534025"/>
            <a:ext cx="3744913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应用部分3-0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0033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2CB62BDA-36F9-470F-8DA1-A862C3C08FD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0084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0.jp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49"/>
            <a:ext cx="412936" cy="5016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92" r:id="rId9"/>
    <p:sldLayoutId id="2147483693" r:id="rId10"/>
    <p:sldLayoutId id="2147483695" r:id="rId11"/>
    <p:sldLayoutId id="2147483697" r:id="rId12"/>
    <p:sldLayoutId id="2147483698" r:id="rId13"/>
    <p:sldLayoutId id="2147483701" r:id="rId14"/>
    <p:sldLayoutId id="2147483707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2498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65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10" Type="http://schemas.openxmlformats.org/officeDocument/2006/relationships/image" Target="../media/image68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6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12" Type="http://schemas.openxmlformats.org/officeDocument/2006/relationships/image" Target="../media/image81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png"/><Relationship Id="rId10" Type="http://schemas.openxmlformats.org/officeDocument/2006/relationships/image" Target="../media/image79.png"/><Relationship Id="rId4" Type="http://schemas.openxmlformats.org/officeDocument/2006/relationships/image" Target="../media/image73.png"/><Relationship Id="rId9" Type="http://schemas.openxmlformats.org/officeDocument/2006/relationships/image" Target="../media/image7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3.png"/><Relationship Id="rId7" Type="http://schemas.openxmlformats.org/officeDocument/2006/relationships/image" Target="../media/image86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7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10" Type="http://schemas.openxmlformats.org/officeDocument/2006/relationships/image" Target="../media/image92.png"/><Relationship Id="rId4" Type="http://schemas.openxmlformats.org/officeDocument/2006/relationships/diagramLayout" Target="../diagrams/layout6.xml"/><Relationship Id="rId9" Type="http://schemas.openxmlformats.org/officeDocument/2006/relationships/image" Target="../media/image9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image" Target="../media/image102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12" Type="http://schemas.microsoft.com/office/2007/relationships/diagramDrawing" Target="../diagrams/drawing7.xml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00.png"/><Relationship Id="rId11" Type="http://schemas.openxmlformats.org/officeDocument/2006/relationships/diagramColors" Target="../diagrams/colors7.xml"/><Relationship Id="rId5" Type="http://schemas.openxmlformats.org/officeDocument/2006/relationships/image" Target="../media/image99.png"/><Relationship Id="rId10" Type="http://schemas.openxmlformats.org/officeDocument/2006/relationships/diagramQuickStyle" Target="../diagrams/quickStyle7.xml"/><Relationship Id="rId4" Type="http://schemas.openxmlformats.org/officeDocument/2006/relationships/image" Target="../media/image98.png"/><Relationship Id="rId9" Type="http://schemas.openxmlformats.org/officeDocument/2006/relationships/diagramLayout" Target="../diagrams/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10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hyperlink" Target="mailto:yanghongbo1@jd.com" TargetMode="Externa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2" Type="http://schemas.openxmlformats.org/officeDocument/2006/relationships/image" Target="../media/image33.png"/><Relationship Id="rId16" Type="http://schemas.openxmlformats.org/officeDocument/2006/relationships/image" Target="../media/image47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3" Type="http://schemas.openxmlformats.org/officeDocument/2006/relationships/image" Target="../media/image49.jpeg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52.jpe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5" Type="http://schemas.openxmlformats.org/officeDocument/2006/relationships/image" Target="../media/image6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Relationship Id="rId14" Type="http://schemas.openxmlformats.org/officeDocument/2006/relationships/image" Target="../media/image6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5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矩形 1"/>
          <p:cNvSpPr/>
          <p:nvPr/>
        </p:nvSpPr>
        <p:spPr>
          <a:xfrm>
            <a:off x="4479635" y="2813447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zh-CN" altLang="en-US" sz="54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63703" y="2492896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>
                <a:solidFill>
                  <a:srgbClr val="0070C0"/>
                </a:solidFill>
                <a:latin typeface="+mj-ea"/>
                <a:ea typeface="+mj-ea"/>
              </a:rPr>
              <a:t>京东智能</a:t>
            </a:r>
            <a:r>
              <a:rPr lang="zh-CN" altLang="en-US" sz="6600" b="1" dirty="0" smtClean="0">
                <a:solidFill>
                  <a:srgbClr val="0070C0"/>
                </a:solidFill>
                <a:latin typeface="+mj-ea"/>
                <a:ea typeface="+mj-ea"/>
              </a:rPr>
              <a:t>云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6012160" y="5888305"/>
            <a:ext cx="149432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/>
                <a:ea typeface="微软雅黑" pitchFamily="34" charset="-122"/>
                <a:cs typeface="宋体" pitchFamily="2" charset="-122"/>
              </a:rPr>
              <a:t> 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 </a:t>
            </a:r>
            <a:r>
              <a:rPr kumimoji="0" lang="zh-CN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京东超级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APP</a:t>
            </a:r>
            <a:r>
              <a:rPr kumimoji="0" lang="zh-CN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下载</a:t>
            </a:r>
            <a:endParaRPr kumimoji="0" lang="zh-CN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  <a:cs typeface="宋体" pitchFamily="2" charset="-122"/>
            </a:endParaRPr>
          </a:p>
        </p:txBody>
      </p:sp>
      <p:pic>
        <p:nvPicPr>
          <p:cNvPr id="8" name="Picture 6" descr="c:\users\ADMINI~1\appdata\roaming\360se6\USERDA~1\Temp\333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52"/>
          <a:stretch/>
        </p:blipFill>
        <p:spPr bwMode="auto">
          <a:xfrm>
            <a:off x="5942255" y="3851134"/>
            <a:ext cx="2047875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066" y="332656"/>
            <a:ext cx="900742" cy="7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455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智能化浪潮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下硬件厂家的机遇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39552" y="3313225"/>
            <a:ext cx="2448272" cy="1987983"/>
          </a:xfrm>
          <a:prstGeom prst="rect">
            <a:avLst/>
          </a:prstGeom>
          <a:noFill/>
          <a:ln w="7620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Unicode MS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TextBox 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1426" y="3621021"/>
            <a:ext cx="1898366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marL="177800" lvl="0" indent="-177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200" kern="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智能化</a:t>
            </a:r>
          </a:p>
          <a:p>
            <a:pPr marL="177800" lvl="0" indent="-177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200" kern="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数据能力</a:t>
            </a:r>
          </a:p>
          <a:p>
            <a:pPr marL="177800" lvl="0" indent="-177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200" kern="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搭建云平台</a:t>
            </a:r>
          </a:p>
          <a:p>
            <a:pPr marL="177800" lvl="0" indent="-177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200" kern="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备互联互通</a:t>
            </a:r>
          </a:p>
        </p:txBody>
      </p:sp>
      <p:pic>
        <p:nvPicPr>
          <p:cNvPr id="12" name="Picture 2" descr="C:\Users\Administrator\Desktop\鍥剧墖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2762856"/>
            <a:ext cx="4355976" cy="4095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标题 1"/>
          <p:cNvSpPr txBox="1">
            <a:spLocks/>
          </p:cNvSpPr>
          <p:nvPr/>
        </p:nvSpPr>
        <p:spPr>
          <a:xfrm>
            <a:off x="467544" y="1220755"/>
            <a:ext cx="5976664" cy="10618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硬件智能化，已是</a:t>
            </a: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势所趋！</a:t>
            </a:r>
            <a:endParaRPr lang="en-US" altLang="zh-CN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硬件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厂商</a:t>
            </a: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如何迎接智能化浪潮的冲击？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如何与互联网企业达到共赢？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84516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图示 9"/>
          <p:cNvGraphicFramePr/>
          <p:nvPr>
            <p:extLst>
              <p:ext uri="{D42A27DB-BD31-4B8C-83A1-F6EECF244321}">
                <p14:modId xmlns:p14="http://schemas.microsoft.com/office/powerpoint/2010/main" val="1159723751"/>
              </p:ext>
            </p:extLst>
          </p:nvPr>
        </p:nvGraphicFramePr>
        <p:xfrm>
          <a:off x="539552" y="1484784"/>
          <a:ext cx="7848873" cy="6952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125" name="Picture 5" descr="D:\工作文件\通用\发布会PPT\jd+logo修饰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804" y="1268760"/>
            <a:ext cx="3528392" cy="2640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化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的先行者</a:t>
            </a:r>
          </a:p>
        </p:txBody>
      </p:sp>
    </p:spTree>
    <p:extLst>
      <p:ext uri="{BB962C8B-B14F-4D97-AF65-F5344CB8AC3E}">
        <p14:creationId xmlns:p14="http://schemas.microsoft.com/office/powerpoint/2010/main" val="4230498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/>
          <p:cNvGrpSpPr/>
          <p:nvPr/>
        </p:nvGrpSpPr>
        <p:grpSpPr>
          <a:xfrm>
            <a:off x="467544" y="976285"/>
            <a:ext cx="8154652" cy="5813089"/>
            <a:chOff x="592422" y="771550"/>
            <a:chExt cx="8280920" cy="4371950"/>
          </a:xfrm>
        </p:grpSpPr>
        <p:graphicFrame>
          <p:nvGraphicFramePr>
            <p:cNvPr id="2" name="图示 1"/>
            <p:cNvGraphicFramePr/>
            <p:nvPr>
              <p:extLst>
                <p:ext uri="{D42A27DB-BD31-4B8C-83A1-F6EECF244321}">
                  <p14:modId xmlns:p14="http://schemas.microsoft.com/office/powerpoint/2010/main" val="77153920"/>
                </p:ext>
              </p:extLst>
            </p:nvPr>
          </p:nvGraphicFramePr>
          <p:xfrm>
            <a:off x="592422" y="771550"/>
            <a:ext cx="8280920" cy="437195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cxnSp>
          <p:nvCxnSpPr>
            <p:cNvPr id="10" name="直接连接符 9"/>
            <p:cNvCxnSpPr/>
            <p:nvPr/>
          </p:nvCxnSpPr>
          <p:spPr>
            <a:xfrm>
              <a:off x="5828672" y="2670362"/>
              <a:ext cx="222174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率先推出全产业链的智能硬件云服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云形 100"/>
          <p:cNvSpPr/>
          <p:nvPr/>
        </p:nvSpPr>
        <p:spPr>
          <a:xfrm>
            <a:off x="3707903" y="5229200"/>
            <a:ext cx="1656185" cy="902765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 大数据分析</a:t>
            </a:r>
            <a:endParaRPr lang="en-US" sz="1200" i="0" u="none" strike="noStrike" kern="1200" cap="none" spc="0" baseline="0" dirty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923928" y="6213309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dirty="0">
                <a:solidFill>
                  <a:schemeClr val="bg1"/>
                </a:solidFill>
                <a:latin typeface="+mj-ea"/>
                <a:ea typeface="+mj-ea"/>
              </a:rPr>
              <a:t>京东智能云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956376" y="3656057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开发者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71743" y="3645024"/>
            <a:ext cx="9438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硬件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厂商</a:t>
            </a:r>
          </a:p>
        </p:txBody>
      </p:sp>
      <p:pic>
        <p:nvPicPr>
          <p:cNvPr id="4098" name="Picture 2" descr="C:\Users\Administrator\Desktop\未标题-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354037"/>
            <a:ext cx="1130014" cy="119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2093348" y="1598603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互</a:t>
            </a:r>
          </a:p>
        </p:txBody>
      </p:sp>
      <p:pic>
        <p:nvPicPr>
          <p:cNvPr id="4100" name="Picture 4" descr="C:\Users\Administrator\Desktop\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97642" y="4218938"/>
            <a:ext cx="1152128" cy="115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3203848" y="450912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收集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763688" y="4581128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 125"/>
          <p:cNvSpPr/>
          <p:nvPr/>
        </p:nvSpPr>
        <p:spPr>
          <a:xfrm>
            <a:off x="1187624" y="4869160"/>
            <a:ext cx="1800200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  <a:prstDash val="solid"/>
            <a:miter/>
          </a:ln>
        </p:spPr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sz="1050" i="0" u="none" strike="noStrike" kern="1200" cap="none" spc="0" baseline="0" dirty="0">
                <a:uFillTx/>
                <a:latin typeface="微软雅黑" pitchFamily="34"/>
                <a:ea typeface="微软雅黑" pitchFamily="34"/>
              </a:rPr>
              <a:t>京东云</a:t>
            </a:r>
            <a:r>
              <a:rPr lang="zh-CN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标准</a:t>
            </a:r>
            <a:r>
              <a:rPr lang="en-US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/</a:t>
            </a:r>
            <a:r>
              <a:rPr lang="zh-CN" sz="1050" i="0" u="none" strike="noStrike" kern="1200" cap="none" spc="0" baseline="0" dirty="0">
                <a:uFillTx/>
                <a:latin typeface="微软雅黑" pitchFamily="34"/>
                <a:ea typeface="微软雅黑" pitchFamily="34"/>
              </a:rPr>
              <a:t>京东智能</a:t>
            </a:r>
            <a:r>
              <a:rPr lang="zh-CN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芯片</a:t>
            </a:r>
            <a:endParaRPr lang="zh-CN" sz="1050" i="0" u="none" strike="noStrike" kern="1200" cap="none" spc="0" baseline="0" dirty="0">
              <a:uFillTx/>
              <a:latin typeface="微软雅黑" pitchFamily="34"/>
              <a:ea typeface="微软雅黑" pitchFamily="34"/>
            </a:endParaRPr>
          </a:p>
        </p:txBody>
      </p:sp>
      <p:pic>
        <p:nvPicPr>
          <p:cNvPr id="4102" name="Picture 6" descr="C:\Users\Administrator\Desktop\dribbble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66" y="2996952"/>
            <a:ext cx="691886" cy="586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D:\工作文件\通用\发布会PPT\kaifa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2996952"/>
            <a:ext cx="576064" cy="588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C:\Users\Administrator\Desktop\未标题-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87872" y="1380815"/>
            <a:ext cx="1130014" cy="119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5598525" y="2060848"/>
            <a:ext cx="7736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467444" y="1607538"/>
            <a:ext cx="8083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呈现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Picture 4" descr="C:\Users\Administrator\Desktop\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5292081" y="4221088"/>
            <a:ext cx="1278435" cy="115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6522827" y="4463376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云形 100"/>
          <p:cNvSpPr/>
          <p:nvPr/>
        </p:nvSpPr>
        <p:spPr>
          <a:xfrm>
            <a:off x="5940152" y="5249008"/>
            <a:ext cx="2007826" cy="86409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  云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计算</a:t>
            </a:r>
            <a:r>
              <a:rPr lang="en-US" altLang="zh-CN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/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云</a:t>
            </a: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托管</a:t>
            </a:r>
            <a:r>
              <a:rPr lang="en-US" altLang="zh-CN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/</a:t>
            </a: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云存储</a:t>
            </a:r>
            <a:endParaRPr lang="en-US" altLang="zh-CN" sz="1200" i="0" u="none" strike="noStrike" kern="1200" cap="none" spc="0" baseline="0" dirty="0" smtClean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45" name="云形 104"/>
          <p:cNvSpPr/>
          <p:nvPr/>
        </p:nvSpPr>
        <p:spPr>
          <a:xfrm>
            <a:off x="1259632" y="5229200"/>
            <a:ext cx="1584176" cy="90415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互联互通</a:t>
            </a:r>
            <a:endParaRPr lang="en-US" sz="1200" i="0" u="none" strike="noStrike" kern="1200" cap="none" spc="0" baseline="0" dirty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004048" y="4478923"/>
            <a:ext cx="10326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altLang="zh-CN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数据开放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0587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2184" y="5189494"/>
            <a:ext cx="1761569" cy="831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5171585"/>
            <a:ext cx="1728192" cy="849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智能云致力于打造开放的智能硬件生态链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3" name="直接连接符 22"/>
          <p:cNvCxnSpPr/>
          <p:nvPr/>
        </p:nvCxnSpPr>
        <p:spPr>
          <a:xfrm flipV="1">
            <a:off x="179512" y="4165046"/>
            <a:ext cx="8798249" cy="79973"/>
          </a:xfrm>
          <a:prstGeom prst="line">
            <a:avLst/>
          </a:prstGeom>
          <a:ln w="63500">
            <a:solidFill>
              <a:srgbClr val="38A1FA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右大括号 24"/>
          <p:cNvSpPr/>
          <p:nvPr/>
        </p:nvSpPr>
        <p:spPr>
          <a:xfrm rot="5400000">
            <a:off x="1276219" y="3479739"/>
            <a:ext cx="450963" cy="2561471"/>
          </a:xfrm>
          <a:prstGeom prst="rightBrace">
            <a:avLst>
              <a:gd name="adj1" fmla="val 50576"/>
              <a:gd name="adj2" fmla="val 50000"/>
            </a:avLst>
          </a:prstGeom>
          <a:ln w="28575">
            <a:solidFill>
              <a:srgbClr val="38A1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6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右大括号 31"/>
          <p:cNvSpPr/>
          <p:nvPr/>
        </p:nvSpPr>
        <p:spPr>
          <a:xfrm rot="5400000">
            <a:off x="4712008" y="3068287"/>
            <a:ext cx="450963" cy="3384376"/>
          </a:xfrm>
          <a:prstGeom prst="rightBrace">
            <a:avLst>
              <a:gd name="adj1" fmla="val 50576"/>
              <a:gd name="adj2" fmla="val 50000"/>
            </a:avLst>
          </a:prstGeom>
          <a:ln w="28575">
            <a:solidFill>
              <a:srgbClr val="38A1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6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右大括号 38"/>
          <p:cNvSpPr/>
          <p:nvPr/>
        </p:nvSpPr>
        <p:spPr>
          <a:xfrm rot="5400000">
            <a:off x="7547488" y="3879697"/>
            <a:ext cx="450963" cy="1761568"/>
          </a:xfrm>
          <a:prstGeom prst="rightBrace">
            <a:avLst>
              <a:gd name="adj1" fmla="val 50576"/>
              <a:gd name="adj2" fmla="val 50000"/>
            </a:avLst>
          </a:prstGeom>
          <a:ln w="28575">
            <a:solidFill>
              <a:srgbClr val="38A1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6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圆角矩形 57"/>
          <p:cNvSpPr/>
          <p:nvPr/>
        </p:nvSpPr>
        <p:spPr>
          <a:xfrm>
            <a:off x="179513" y="3090153"/>
            <a:ext cx="886975" cy="576064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芯片商</a:t>
            </a:r>
          </a:p>
        </p:txBody>
      </p:sp>
      <p:sp>
        <p:nvSpPr>
          <p:cNvPr id="60" name="圆角矩形 59"/>
          <p:cNvSpPr/>
          <p:nvPr/>
        </p:nvSpPr>
        <p:spPr>
          <a:xfrm>
            <a:off x="1115617" y="3090153"/>
            <a:ext cx="886975" cy="576064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块商</a:t>
            </a:r>
          </a:p>
        </p:txBody>
      </p:sp>
      <p:sp>
        <p:nvSpPr>
          <p:cNvPr id="61" name="圆角矩形 60"/>
          <p:cNvSpPr/>
          <p:nvPr/>
        </p:nvSpPr>
        <p:spPr>
          <a:xfrm>
            <a:off x="2060818" y="3090153"/>
            <a:ext cx="999015" cy="576064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标准</a:t>
            </a:r>
          </a:p>
        </p:txBody>
      </p:sp>
      <p:sp>
        <p:nvSpPr>
          <p:cNvPr id="62" name="圆角矩形 61"/>
          <p:cNvSpPr/>
          <p:nvPr/>
        </p:nvSpPr>
        <p:spPr>
          <a:xfrm>
            <a:off x="3275858" y="3082449"/>
            <a:ext cx="1152127" cy="576064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健康</a:t>
            </a:r>
            <a:r>
              <a:rPr lang="zh-CN" altLang="en-US" sz="1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穿戴设备</a:t>
            </a:r>
          </a:p>
        </p:txBody>
      </p:sp>
      <p:sp>
        <p:nvSpPr>
          <p:cNvPr id="63" name="圆角矩形 62"/>
          <p:cNvSpPr/>
          <p:nvPr/>
        </p:nvSpPr>
        <p:spPr>
          <a:xfrm>
            <a:off x="4499992" y="3090153"/>
            <a:ext cx="1007644" cy="576064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家居设备</a:t>
            </a:r>
          </a:p>
        </p:txBody>
      </p:sp>
      <p:sp>
        <p:nvSpPr>
          <p:cNvPr id="64" name="圆角矩形 63"/>
          <p:cNvSpPr/>
          <p:nvPr/>
        </p:nvSpPr>
        <p:spPr>
          <a:xfrm>
            <a:off x="7597415" y="3129191"/>
            <a:ext cx="1121573" cy="576064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提供商</a:t>
            </a:r>
          </a:p>
        </p:txBody>
      </p:sp>
      <p:sp>
        <p:nvSpPr>
          <p:cNvPr id="65" name="圆角矩形 64"/>
          <p:cNvSpPr/>
          <p:nvPr/>
        </p:nvSpPr>
        <p:spPr>
          <a:xfrm>
            <a:off x="5573016" y="3090153"/>
            <a:ext cx="1015208" cy="576064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汽车终端</a:t>
            </a:r>
          </a:p>
        </p:txBody>
      </p:sp>
      <p:sp>
        <p:nvSpPr>
          <p:cNvPr id="66" name="圆角矩形 65"/>
          <p:cNvSpPr/>
          <p:nvPr/>
        </p:nvSpPr>
        <p:spPr>
          <a:xfrm>
            <a:off x="6845701" y="3115920"/>
            <a:ext cx="679705" cy="576064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SV</a:t>
            </a:r>
            <a:endParaRPr lang="zh-CN" altLang="en-US" sz="1400" dirty="0" smtClean="0">
              <a:solidFill>
                <a:schemeClr val="tx2">
                  <a:lumMod val="60000"/>
                  <a:lumOff val="4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0067" y="1316765"/>
            <a:ext cx="1822756" cy="817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936151" y="1500043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智能云</a:t>
            </a:r>
          </a:p>
        </p:txBody>
      </p:sp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999" y="5196584"/>
            <a:ext cx="1716753" cy="8247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882348" y="5360784"/>
            <a:ext cx="11744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开放</a:t>
            </a:r>
            <a:endParaRPr lang="en-US" altLang="zh-CN" sz="14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兼容多芯片</a:t>
            </a:r>
          </a:p>
        </p:txBody>
      </p:sp>
      <p:sp>
        <p:nvSpPr>
          <p:cNvPr id="71" name="椭圆 70"/>
          <p:cNvSpPr/>
          <p:nvPr/>
        </p:nvSpPr>
        <p:spPr>
          <a:xfrm>
            <a:off x="3760996" y="4137105"/>
            <a:ext cx="175155" cy="174279"/>
          </a:xfrm>
          <a:prstGeom prst="ellipse">
            <a:avLst/>
          </a:prstGeom>
          <a:solidFill>
            <a:schemeClr val="bg1"/>
          </a:solidFill>
          <a:ln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426713" y="5217155"/>
            <a:ext cx="10215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服务</a:t>
            </a:r>
            <a:endParaRPr lang="en-US" altLang="zh-CN" sz="14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数据</a:t>
            </a:r>
            <a:endParaRPr lang="en-US" altLang="zh-CN" sz="14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级</a:t>
            </a:r>
            <a:r>
              <a:rPr lang="en-US" altLang="zh-CN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zh-CN" altLang="en-US" sz="14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7344345" y="5360784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放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endParaRPr lang="en-US" altLang="zh-CN" sz="14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值服务</a:t>
            </a:r>
          </a:p>
        </p:txBody>
      </p:sp>
      <p:sp>
        <p:nvSpPr>
          <p:cNvPr id="81" name="右大括号 80"/>
          <p:cNvSpPr/>
          <p:nvPr/>
        </p:nvSpPr>
        <p:spPr>
          <a:xfrm rot="16200000">
            <a:off x="4209533" y="-1240345"/>
            <a:ext cx="509236" cy="7643420"/>
          </a:xfrm>
          <a:prstGeom prst="rightBrace">
            <a:avLst>
              <a:gd name="adj1" fmla="val 50576"/>
              <a:gd name="adj2" fmla="val 50000"/>
            </a:avLst>
          </a:prstGeom>
          <a:ln w="28575">
            <a:solidFill>
              <a:srgbClr val="38A1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6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椭圆 32"/>
          <p:cNvSpPr/>
          <p:nvPr/>
        </p:nvSpPr>
        <p:spPr>
          <a:xfrm>
            <a:off x="2452629" y="4149080"/>
            <a:ext cx="175155" cy="174279"/>
          </a:xfrm>
          <a:prstGeom prst="ellipse">
            <a:avLst/>
          </a:prstGeom>
          <a:solidFill>
            <a:schemeClr val="bg1"/>
          </a:solidFill>
          <a:ln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7" name="椭圆 36"/>
          <p:cNvSpPr/>
          <p:nvPr/>
        </p:nvSpPr>
        <p:spPr>
          <a:xfrm>
            <a:off x="1475656" y="4149080"/>
            <a:ext cx="175155" cy="174279"/>
          </a:xfrm>
          <a:prstGeom prst="ellipse">
            <a:avLst/>
          </a:prstGeom>
          <a:solidFill>
            <a:schemeClr val="bg1"/>
          </a:solidFill>
          <a:ln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8" name="椭圆 37"/>
          <p:cNvSpPr/>
          <p:nvPr/>
        </p:nvSpPr>
        <p:spPr>
          <a:xfrm>
            <a:off x="535422" y="4149080"/>
            <a:ext cx="175155" cy="174279"/>
          </a:xfrm>
          <a:prstGeom prst="ellipse">
            <a:avLst/>
          </a:prstGeom>
          <a:solidFill>
            <a:schemeClr val="bg1"/>
          </a:solidFill>
          <a:ln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0" name="椭圆 39"/>
          <p:cNvSpPr/>
          <p:nvPr/>
        </p:nvSpPr>
        <p:spPr>
          <a:xfrm>
            <a:off x="4916236" y="4117892"/>
            <a:ext cx="175155" cy="174279"/>
          </a:xfrm>
          <a:prstGeom prst="ellipse">
            <a:avLst/>
          </a:prstGeom>
          <a:solidFill>
            <a:schemeClr val="bg1"/>
          </a:solidFill>
          <a:ln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1" name="椭圆 40"/>
          <p:cNvSpPr/>
          <p:nvPr/>
        </p:nvSpPr>
        <p:spPr>
          <a:xfrm>
            <a:off x="5993041" y="4098327"/>
            <a:ext cx="175155" cy="174279"/>
          </a:xfrm>
          <a:prstGeom prst="ellipse">
            <a:avLst/>
          </a:prstGeom>
          <a:solidFill>
            <a:schemeClr val="bg1"/>
          </a:solidFill>
          <a:ln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2" name="椭圆 41"/>
          <p:cNvSpPr/>
          <p:nvPr/>
        </p:nvSpPr>
        <p:spPr>
          <a:xfrm>
            <a:off x="7097975" y="4098328"/>
            <a:ext cx="175155" cy="174279"/>
          </a:xfrm>
          <a:prstGeom prst="ellipse">
            <a:avLst/>
          </a:prstGeom>
          <a:solidFill>
            <a:schemeClr val="bg1"/>
          </a:solidFill>
          <a:ln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3" name="椭圆 42"/>
          <p:cNvSpPr/>
          <p:nvPr/>
        </p:nvSpPr>
        <p:spPr>
          <a:xfrm>
            <a:off x="7983046" y="4077906"/>
            <a:ext cx="175155" cy="174279"/>
          </a:xfrm>
          <a:prstGeom prst="ellipse">
            <a:avLst/>
          </a:prstGeom>
          <a:solidFill>
            <a:schemeClr val="bg1"/>
          </a:solidFill>
          <a:ln>
            <a:solidFill>
              <a:srgbClr val="38A1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296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9" name="Picture 5" descr="D:\工作文件\通用\发布会PPT\beij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825" y="1052736"/>
            <a:ext cx="5981519" cy="3744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553200" y="6520259"/>
            <a:ext cx="2133600" cy="365125"/>
          </a:xfrm>
        </p:spPr>
        <p:txBody>
          <a:bodyPr/>
          <a:lstStyle/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14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395536" y="5801154"/>
            <a:ext cx="4176464" cy="963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4572001" y="5801154"/>
            <a:ext cx="4176463" cy="963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2167084" y="4043337"/>
            <a:ext cx="16848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</a:t>
            </a:r>
            <a:r>
              <a:rPr kumimoji="1"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FI</a:t>
            </a:r>
            <a:r>
              <a:rPr kumimoji="1"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芯片技术</a:t>
            </a:r>
            <a:r>
              <a:rPr kumimoji="1" lang="en-US" altLang="ko-KR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kumimoji="1" lang="en-US" altLang="ko-KR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5220072" y="4057603"/>
            <a:ext cx="178394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G</a:t>
            </a:r>
            <a:r>
              <a:rPr kumimoji="1"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芯片</a:t>
            </a:r>
            <a:r>
              <a:rPr kumimoji="1"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kumimoji="1"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虚拟</a:t>
            </a:r>
            <a:r>
              <a:rPr kumimoji="1"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商网络</a:t>
            </a:r>
            <a:r>
              <a:rPr kumimoji="1" lang="zh-CN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持</a:t>
            </a:r>
            <a:r>
              <a:rPr kumimoji="1" lang="en-US" altLang="ko-KR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kumimoji="1" lang="en-US" altLang="ko-KR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395536" y="260648"/>
            <a:ext cx="36004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智能云提供智能芯片技术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" name="直接连接符 14"/>
          <p:cNvCxnSpPr/>
          <p:nvPr/>
        </p:nvCxnSpPr>
        <p:spPr>
          <a:xfrm flipV="1">
            <a:off x="3419872" y="2105893"/>
            <a:ext cx="604717" cy="557587"/>
          </a:xfrm>
          <a:prstGeom prst="line">
            <a:avLst/>
          </a:prstGeom>
          <a:ln w="9525" cmpd="sng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H="1" flipV="1">
            <a:off x="4967192" y="2058509"/>
            <a:ext cx="927720" cy="837473"/>
          </a:xfrm>
          <a:prstGeom prst="line">
            <a:avLst/>
          </a:prstGeom>
          <a:ln w="9525" cmpd="sng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507" name="Picture 3" descr="D:\工作文件\通用\发布会PPT\222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7084" y="2477412"/>
            <a:ext cx="1396804" cy="135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D:\工作文件\通用\发布会PPT\3333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2906" y="2759491"/>
            <a:ext cx="138539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C:\Users\Administrator\Desktop\3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2999374"/>
            <a:ext cx="1046571" cy="76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762585" y="3143533"/>
            <a:ext cx="356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0070C0"/>
                </a:solidFill>
                <a:latin typeface="+mj-ea"/>
                <a:ea typeface="+mj-ea"/>
              </a:rPr>
              <a:t>+</a:t>
            </a:r>
            <a:endParaRPr lang="zh-CN" altLang="en-US" dirty="0" smtClean="0">
              <a:solidFill>
                <a:srgbClr val="0070C0"/>
              </a:solidFill>
              <a:latin typeface="+mj-ea"/>
              <a:ea typeface="+mj-ea"/>
            </a:endParaRPr>
          </a:p>
        </p:txBody>
      </p:sp>
      <p:pic>
        <p:nvPicPr>
          <p:cNvPr id="14" name="Picture 6" descr="D:\工作文件\通用\发布会PPT\yu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1" y="980728"/>
            <a:ext cx="3545205" cy="2250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ADMINI~1\appdata\roaming\360se6\USERDA~1\Temp\IMAGE_~1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5018881"/>
            <a:ext cx="800100" cy="704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c:\users\ADMINI~1\appdata\roaming\360se6\USERDA~1\Temp\IMAGE_~2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449" y="5018881"/>
            <a:ext cx="1095375" cy="704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c:\users\ADMINI~1\appdata\roaming\360se6\USERDA~1\Temp\IMAGE_~3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5934" y="5018881"/>
            <a:ext cx="1162050" cy="71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c:\users\ADMINI~1\appdata\roaming\360se6\USERDA~1\Temp\IMAGE_~4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7519" y="5018881"/>
            <a:ext cx="1190625" cy="71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c:\users\ADMINI~1\appdata\roaming\360se6\USERDA~1\Temp\IM7E17~1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6563" y="5018881"/>
            <a:ext cx="847725" cy="71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249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" descr="D:\工作文件\通用\发布会PPT\1397655168_519835-48_Cloud_Remov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440" y="3421117"/>
            <a:ext cx="390328" cy="472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58" name="Picture 2" descr="D:\工作文件\通用\发布会PPT\环线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884507"/>
            <a:ext cx="7858272" cy="3766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D:\工作文件\通用\发布会PPT\yu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764704"/>
            <a:ext cx="3744416" cy="2286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4"/>
          <p:cNvSpPr txBox="1">
            <a:spLocks noChangeArrowheads="1"/>
          </p:cNvSpPr>
          <p:nvPr/>
        </p:nvSpPr>
        <p:spPr bwMode="auto">
          <a:xfrm>
            <a:off x="3851921" y="1401162"/>
            <a:ext cx="149251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zh-CN" altLang="en-US" b="1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放式</a:t>
            </a:r>
            <a:endParaRPr kumimoji="1" lang="en-US" altLang="zh-CN" b="1" dirty="0" smtClean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latinLnBrk="1" hangingPunct="1"/>
            <a:r>
              <a:rPr kumimoji="1" lang="zh-CN" altLang="en-US" sz="1400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联网协议</a:t>
            </a:r>
            <a:endParaRPr kumimoji="1" lang="en-US" altLang="ko-KR" sz="1400" dirty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 Box 5"/>
          <p:cNvSpPr txBox="1">
            <a:spLocks noChangeArrowheads="1"/>
          </p:cNvSpPr>
          <p:nvPr/>
        </p:nvSpPr>
        <p:spPr bwMode="auto">
          <a:xfrm>
            <a:off x="3755192" y="4437112"/>
            <a:ext cx="163361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zh-CN" alt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兼容当前主流标准</a:t>
            </a:r>
            <a:endParaRPr kumimoji="1" lang="en-US" altLang="ko-KR" sz="1400" dirty="0">
              <a:solidFill>
                <a:schemeClr val="tx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7596336" y="2702726"/>
            <a:ext cx="14401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zh-CN" alt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持云到云对接</a:t>
            </a:r>
            <a:endParaRPr kumimoji="1" lang="en-US" altLang="ko-KR" sz="1400" dirty="0">
              <a:solidFill>
                <a:schemeClr val="tx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 Box 7"/>
          <p:cNvSpPr txBox="1">
            <a:spLocks noChangeArrowheads="1"/>
          </p:cNvSpPr>
          <p:nvPr/>
        </p:nvSpPr>
        <p:spPr bwMode="auto">
          <a:xfrm>
            <a:off x="107504" y="2637073"/>
            <a:ext cx="165618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zh-CN" altLang="en-US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硬件</a:t>
            </a:r>
            <a:r>
              <a:rPr kumimoji="1" lang="zh-CN" alt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直接云端</a:t>
            </a:r>
            <a:endParaRPr kumimoji="1" lang="en-US" altLang="ko-KR" sz="1400" dirty="0">
              <a:solidFill>
                <a:schemeClr val="tx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latinLnBrk="1" hangingPunct="1"/>
            <a:r>
              <a:rPr kumimoji="1" lang="en-US" altLang="ko-KR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  <p:sp>
        <p:nvSpPr>
          <p:cNvPr id="24" name="标题 1"/>
          <p:cNvSpPr txBox="1">
            <a:spLocks/>
          </p:cNvSpPr>
          <p:nvPr/>
        </p:nvSpPr>
        <p:spPr>
          <a:xfrm>
            <a:off x="395536" y="260648"/>
            <a:ext cx="684076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智能云提供物联网技术支持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459" name="Picture 3" descr="D:\工作文件\通用\发布会PPT\1397655168_519835-48_Cloud_Remov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3044957"/>
            <a:ext cx="1019725" cy="960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164288" y="3398804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美的</a:t>
            </a:r>
            <a:endParaRPr lang="zh-CN" altLang="en-US" sz="1000" dirty="0" smtClean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" name="Picture 3" descr="D:\工作文件\通用\发布会PPT\1397655168_519835-48_Cloud_Remov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718" y="3332989"/>
            <a:ext cx="1006721" cy="960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7740352" y="3686836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信</a:t>
            </a:r>
            <a:endParaRPr lang="zh-CN" altLang="en-US" sz="1000" dirty="0" smtClean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Picture 3" descr="D:\工作文件\通用\发布会PPT\1397655168_519835-48_Cloud_Remov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416" y="2911907"/>
            <a:ext cx="926823" cy="960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8100392" y="3262531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</a:t>
            </a:r>
            <a:r>
              <a:rPr lang="zh-CN" altLang="en-US" sz="1000" dirty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尔</a:t>
            </a:r>
            <a:endParaRPr lang="zh-CN" altLang="en-US" sz="1000" dirty="0" smtClean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3839072" y="4883294"/>
            <a:ext cx="663246" cy="480053"/>
          </a:xfrm>
          <a:prstGeom prst="roundRect">
            <a:avLst/>
          </a:prstGeom>
          <a:solidFill>
            <a:srgbClr val="FBFBFB"/>
          </a:solidFill>
          <a:ln w="41275">
            <a:solidFill>
              <a:srgbClr val="3BA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950122" y="4959173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闪联</a:t>
            </a:r>
          </a:p>
        </p:txBody>
      </p:sp>
      <p:sp>
        <p:nvSpPr>
          <p:cNvPr id="32" name="圆角矩形 31"/>
          <p:cNvSpPr/>
          <p:nvPr/>
        </p:nvSpPr>
        <p:spPr>
          <a:xfrm>
            <a:off x="4628834" y="4883292"/>
            <a:ext cx="663246" cy="480053"/>
          </a:xfrm>
          <a:prstGeom prst="roundRect">
            <a:avLst/>
          </a:prstGeom>
          <a:solidFill>
            <a:srgbClr val="FBFBFB"/>
          </a:solidFill>
          <a:ln w="41275">
            <a:solidFill>
              <a:srgbClr val="3BA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739884" y="4959171"/>
            <a:ext cx="37542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66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+</a:t>
            </a:r>
            <a:endParaRPr lang="zh-CN" altLang="en-US" sz="1000" dirty="0" smtClean="0">
              <a:solidFill>
                <a:srgbClr val="0066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" name="Picture 3" descr="D:\工作文件\通用\发布会PPT\1397655168_519835-48_Cloud_Remov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3576573"/>
            <a:ext cx="400926" cy="43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" descr="D:\工作文件\通用\发布会PPT\1397655168_519835-48_Cloud_Remove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3728210"/>
            <a:ext cx="432048" cy="395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" descr="D:\工作文件\通用\发布会PPT\1397655168_519835-48_Cloud_Remov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5416" y="3781411"/>
            <a:ext cx="285883" cy="289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" descr="D:\工作文件\通用\发布会PPT\1397655168_519835-48_Cloud_Remov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441" y="2941745"/>
            <a:ext cx="281798" cy="289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圆角矩形 40"/>
          <p:cNvSpPr/>
          <p:nvPr/>
        </p:nvSpPr>
        <p:spPr>
          <a:xfrm>
            <a:off x="5205606" y="5287467"/>
            <a:ext cx="277667" cy="200973"/>
          </a:xfrm>
          <a:prstGeom prst="roundRect">
            <a:avLst/>
          </a:prstGeom>
          <a:solidFill>
            <a:srgbClr val="FBFBFB"/>
          </a:solidFill>
          <a:ln w="25400">
            <a:solidFill>
              <a:srgbClr val="3BA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42" name="圆角矩形 41"/>
          <p:cNvSpPr/>
          <p:nvPr/>
        </p:nvSpPr>
        <p:spPr>
          <a:xfrm>
            <a:off x="3419873" y="5022831"/>
            <a:ext cx="277667" cy="200973"/>
          </a:xfrm>
          <a:prstGeom prst="roundRect">
            <a:avLst/>
          </a:prstGeom>
          <a:solidFill>
            <a:srgbClr val="FBFBFB"/>
          </a:solidFill>
          <a:ln w="25400">
            <a:solidFill>
              <a:srgbClr val="3BA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43" name="圆角矩形 42"/>
          <p:cNvSpPr/>
          <p:nvPr/>
        </p:nvSpPr>
        <p:spPr>
          <a:xfrm>
            <a:off x="3717579" y="5252615"/>
            <a:ext cx="277667" cy="200973"/>
          </a:xfrm>
          <a:prstGeom prst="roundRect">
            <a:avLst/>
          </a:prstGeom>
          <a:solidFill>
            <a:srgbClr val="FBFBFB"/>
          </a:solidFill>
          <a:ln w="25400">
            <a:solidFill>
              <a:srgbClr val="3BA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5253757" y="4959173"/>
            <a:ext cx="181365" cy="131271"/>
          </a:xfrm>
          <a:prstGeom prst="roundRect">
            <a:avLst/>
          </a:prstGeom>
          <a:solidFill>
            <a:srgbClr val="FBFBFB"/>
          </a:solidFill>
          <a:ln w="12700">
            <a:solidFill>
              <a:srgbClr val="3BA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5459461" y="4727467"/>
            <a:ext cx="181365" cy="131271"/>
          </a:xfrm>
          <a:prstGeom prst="roundRect">
            <a:avLst/>
          </a:prstGeom>
          <a:solidFill>
            <a:srgbClr val="FBFBFB"/>
          </a:solidFill>
          <a:ln w="12700">
            <a:solidFill>
              <a:srgbClr val="3BA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5550143" y="5242982"/>
            <a:ext cx="181365" cy="131271"/>
          </a:xfrm>
          <a:prstGeom prst="roundRect">
            <a:avLst/>
          </a:prstGeom>
          <a:solidFill>
            <a:srgbClr val="FBFBFB"/>
          </a:solidFill>
          <a:ln w="12700">
            <a:solidFill>
              <a:srgbClr val="3BA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47" name="圆角矩形 46"/>
          <p:cNvSpPr/>
          <p:nvPr/>
        </p:nvSpPr>
        <p:spPr>
          <a:xfrm>
            <a:off x="3377341" y="4795830"/>
            <a:ext cx="181365" cy="131271"/>
          </a:xfrm>
          <a:prstGeom prst="roundRect">
            <a:avLst/>
          </a:prstGeom>
          <a:solidFill>
            <a:srgbClr val="FBFBFB"/>
          </a:solidFill>
          <a:ln w="12700">
            <a:solidFill>
              <a:srgbClr val="3BA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3595490" y="5388293"/>
            <a:ext cx="181365" cy="131271"/>
          </a:xfrm>
          <a:prstGeom prst="roundRect">
            <a:avLst/>
          </a:prstGeom>
          <a:solidFill>
            <a:srgbClr val="FBFBFB"/>
          </a:solidFill>
          <a:ln w="12700">
            <a:solidFill>
              <a:srgbClr val="3BA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58067" y="3117126"/>
            <a:ext cx="1240527" cy="384043"/>
            <a:chOff x="323528" y="2375882"/>
            <a:chExt cx="1008112" cy="288032"/>
          </a:xfrm>
        </p:grpSpPr>
        <p:sp>
          <p:nvSpPr>
            <p:cNvPr id="6" name="燕尾形 5"/>
            <p:cNvSpPr/>
            <p:nvPr/>
          </p:nvSpPr>
          <p:spPr>
            <a:xfrm>
              <a:off x="323528" y="2375882"/>
              <a:ext cx="288032" cy="288032"/>
            </a:xfrm>
            <a:prstGeom prst="chevron">
              <a:avLst/>
            </a:prstGeom>
            <a:solidFill>
              <a:srgbClr val="FBFBFB"/>
            </a:solidFill>
            <a:ln w="38100">
              <a:solidFill>
                <a:srgbClr val="3BAF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50" name="燕尾形 49"/>
            <p:cNvSpPr/>
            <p:nvPr/>
          </p:nvSpPr>
          <p:spPr>
            <a:xfrm>
              <a:off x="591536" y="2375882"/>
              <a:ext cx="288032" cy="288032"/>
            </a:xfrm>
            <a:prstGeom prst="chevron">
              <a:avLst/>
            </a:prstGeom>
            <a:solidFill>
              <a:srgbClr val="FBFBFB"/>
            </a:solidFill>
            <a:ln w="38100">
              <a:solidFill>
                <a:srgbClr val="3BAF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51" name="燕尾形 50"/>
            <p:cNvSpPr/>
            <p:nvPr/>
          </p:nvSpPr>
          <p:spPr>
            <a:xfrm>
              <a:off x="887952" y="2375882"/>
              <a:ext cx="443688" cy="288032"/>
            </a:xfrm>
            <a:prstGeom prst="chevron">
              <a:avLst/>
            </a:prstGeom>
            <a:solidFill>
              <a:srgbClr val="FBFBFB"/>
            </a:solidFill>
            <a:ln w="38100">
              <a:solidFill>
                <a:srgbClr val="3BAF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243867" y="3656917"/>
            <a:ext cx="189452" cy="130849"/>
            <a:chOff x="145287" y="2688560"/>
            <a:chExt cx="189452" cy="98137"/>
          </a:xfrm>
        </p:grpSpPr>
        <p:sp>
          <p:nvSpPr>
            <p:cNvPr id="54" name="燕尾形 53"/>
            <p:cNvSpPr/>
            <p:nvPr/>
          </p:nvSpPr>
          <p:spPr>
            <a:xfrm>
              <a:off x="145287" y="2688560"/>
              <a:ext cx="98137" cy="98137"/>
            </a:xfrm>
            <a:prstGeom prst="chevron">
              <a:avLst/>
            </a:prstGeom>
            <a:solidFill>
              <a:srgbClr val="FBFBFB"/>
            </a:solidFill>
            <a:ln w="12700">
              <a:solidFill>
                <a:srgbClr val="3BAF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55" name="燕尾形 54"/>
            <p:cNvSpPr/>
            <p:nvPr/>
          </p:nvSpPr>
          <p:spPr>
            <a:xfrm>
              <a:off x="236602" y="2688560"/>
              <a:ext cx="98137" cy="98137"/>
            </a:xfrm>
            <a:prstGeom prst="chevron">
              <a:avLst/>
            </a:prstGeom>
            <a:solidFill>
              <a:srgbClr val="FBFBFB"/>
            </a:solidFill>
            <a:ln w="12700">
              <a:solidFill>
                <a:srgbClr val="3BAF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58" name="组合 57"/>
          <p:cNvGrpSpPr/>
          <p:nvPr/>
        </p:nvGrpSpPr>
        <p:grpSpPr>
          <a:xfrm>
            <a:off x="1358212" y="3501170"/>
            <a:ext cx="189452" cy="130849"/>
            <a:chOff x="145287" y="2688560"/>
            <a:chExt cx="189452" cy="98137"/>
          </a:xfrm>
        </p:grpSpPr>
        <p:sp>
          <p:nvSpPr>
            <p:cNvPr id="59" name="燕尾形 58"/>
            <p:cNvSpPr/>
            <p:nvPr/>
          </p:nvSpPr>
          <p:spPr>
            <a:xfrm>
              <a:off x="145287" y="2688560"/>
              <a:ext cx="98137" cy="98137"/>
            </a:xfrm>
            <a:prstGeom prst="chevron">
              <a:avLst/>
            </a:prstGeom>
            <a:solidFill>
              <a:srgbClr val="FBFBFB"/>
            </a:solidFill>
            <a:ln w="12700">
              <a:solidFill>
                <a:srgbClr val="3BAF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60" name="燕尾形 59"/>
            <p:cNvSpPr/>
            <p:nvPr/>
          </p:nvSpPr>
          <p:spPr>
            <a:xfrm>
              <a:off x="236602" y="2688560"/>
              <a:ext cx="98137" cy="98137"/>
            </a:xfrm>
            <a:prstGeom prst="chevron">
              <a:avLst/>
            </a:prstGeom>
            <a:solidFill>
              <a:srgbClr val="FBFBFB"/>
            </a:solidFill>
            <a:ln w="12700">
              <a:solidFill>
                <a:srgbClr val="3BAF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1034176" y="3802207"/>
            <a:ext cx="189452" cy="130849"/>
            <a:chOff x="145287" y="2688560"/>
            <a:chExt cx="189452" cy="98137"/>
          </a:xfrm>
        </p:grpSpPr>
        <p:sp>
          <p:nvSpPr>
            <p:cNvPr id="62" name="燕尾形 61"/>
            <p:cNvSpPr/>
            <p:nvPr/>
          </p:nvSpPr>
          <p:spPr>
            <a:xfrm>
              <a:off x="145287" y="2688560"/>
              <a:ext cx="98137" cy="98137"/>
            </a:xfrm>
            <a:prstGeom prst="chevron">
              <a:avLst/>
            </a:prstGeom>
            <a:solidFill>
              <a:srgbClr val="FBFBFB"/>
            </a:solidFill>
            <a:ln w="12700">
              <a:solidFill>
                <a:srgbClr val="3BAF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63" name="燕尾形 62"/>
            <p:cNvSpPr/>
            <p:nvPr/>
          </p:nvSpPr>
          <p:spPr>
            <a:xfrm>
              <a:off x="236602" y="2688560"/>
              <a:ext cx="98137" cy="98137"/>
            </a:xfrm>
            <a:prstGeom prst="chevron">
              <a:avLst/>
            </a:prstGeom>
            <a:solidFill>
              <a:srgbClr val="FBFBFB"/>
            </a:solidFill>
            <a:ln w="12700">
              <a:solidFill>
                <a:srgbClr val="3BAF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0249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4" name="Picture 6" descr="D:\工作文件\通用\发布会PPT\yu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2536" y="1988840"/>
            <a:ext cx="3744416" cy="2250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智能云提供全方位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云服务支持</a:t>
            </a:r>
          </a:p>
        </p:txBody>
      </p:sp>
      <p:graphicFrame>
        <p:nvGraphicFramePr>
          <p:cNvPr id="10" name="图示 9"/>
          <p:cNvGraphicFramePr/>
          <p:nvPr>
            <p:extLst>
              <p:ext uri="{D42A27DB-BD31-4B8C-83A1-F6EECF244321}">
                <p14:modId xmlns:p14="http://schemas.microsoft.com/office/powerpoint/2010/main" val="2894278580"/>
              </p:ext>
            </p:extLst>
          </p:nvPr>
        </p:nvGraphicFramePr>
        <p:xfrm>
          <a:off x="3048597" y="1393597"/>
          <a:ext cx="5314166" cy="4723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17390" y="3801429"/>
            <a:ext cx="228780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spc="40" dirty="0" smtClean="0">
                <a:solidFill>
                  <a:schemeClr val="accent5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强大的云计算能力</a:t>
            </a:r>
            <a:endParaRPr lang="en-US" altLang="zh-CN" sz="1600" spc="40" dirty="0" smtClean="0">
              <a:solidFill>
                <a:schemeClr val="accent5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spc="40" dirty="0" smtClean="0">
                <a:solidFill>
                  <a:schemeClr val="accent5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开放给合作伙伴</a:t>
            </a:r>
          </a:p>
        </p:txBody>
      </p:sp>
    </p:spTree>
    <p:extLst>
      <p:ext uri="{BB962C8B-B14F-4D97-AF65-F5344CB8AC3E}">
        <p14:creationId xmlns:p14="http://schemas.microsoft.com/office/powerpoint/2010/main" val="642683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图示 3"/>
          <p:cNvGraphicFramePr/>
          <p:nvPr>
            <p:extLst>
              <p:ext uri="{D42A27DB-BD31-4B8C-83A1-F6EECF244321}">
                <p14:modId xmlns:p14="http://schemas.microsoft.com/office/powerpoint/2010/main" val="2260241827"/>
              </p:ext>
            </p:extLst>
          </p:nvPr>
        </p:nvGraphicFramePr>
        <p:xfrm>
          <a:off x="323528" y="932723"/>
          <a:ext cx="8568952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京东智能云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供大数据分析和开放能力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29393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 txBox="1">
            <a:spLocks/>
          </p:cNvSpPr>
          <p:nvPr/>
        </p:nvSpPr>
        <p:spPr>
          <a:xfrm>
            <a:off x="395536" y="260648"/>
            <a:ext cx="5946526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智能云提供</a:t>
            </a: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TTT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备自动感知和互联操作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3203848" y="1353099"/>
            <a:ext cx="5760640" cy="4884214"/>
            <a:chOff x="2389381" y="1268653"/>
            <a:chExt cx="5964593" cy="3792853"/>
          </a:xfrm>
        </p:grpSpPr>
        <p:grpSp>
          <p:nvGrpSpPr>
            <p:cNvPr id="10" name="组合 9"/>
            <p:cNvGrpSpPr/>
            <p:nvPr/>
          </p:nvGrpSpPr>
          <p:grpSpPr>
            <a:xfrm>
              <a:off x="2389381" y="1268653"/>
              <a:ext cx="5964593" cy="3792853"/>
              <a:chOff x="2389381" y="1268653"/>
              <a:chExt cx="5964593" cy="3792853"/>
            </a:xfrm>
          </p:grpSpPr>
          <p:pic>
            <p:nvPicPr>
              <p:cNvPr id="2050" name="Picture 2" descr="C:\Users\Administrator\AppData\Roaming\Foxmail7\Temp-6584-20140624092824\hl(06-24-13-47-46).png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8026" b="15219"/>
              <a:stretch/>
            </p:blipFill>
            <p:spPr bwMode="auto">
              <a:xfrm>
                <a:off x="2389381" y="2924838"/>
                <a:ext cx="5964593" cy="21366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aphicFrame>
            <p:nvGraphicFramePr>
              <p:cNvPr id="9" name="图示 8"/>
              <p:cNvGraphicFramePr/>
              <p:nvPr>
                <p:extLst>
                  <p:ext uri="{D42A27DB-BD31-4B8C-83A1-F6EECF244321}">
                    <p14:modId xmlns:p14="http://schemas.microsoft.com/office/powerpoint/2010/main" val="3343881290"/>
                  </p:ext>
                </p:extLst>
              </p:nvPr>
            </p:nvGraphicFramePr>
            <p:xfrm>
              <a:off x="2462211" y="1268653"/>
              <a:ext cx="5313518" cy="86409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" r:lo="rId4" r:qs="rId5" r:cs="rId6"/>
              </a:graphicData>
            </a:graphic>
          </p:graphicFrame>
          <p:sp>
            <p:nvSpPr>
              <p:cNvPr id="12" name="右大括号 11"/>
              <p:cNvSpPr/>
              <p:nvPr/>
            </p:nvSpPr>
            <p:spPr>
              <a:xfrm rot="16200000" flipV="1">
                <a:off x="5010262" y="247243"/>
                <a:ext cx="338222" cy="4685295"/>
              </a:xfrm>
              <a:prstGeom prst="rightBrace">
                <a:avLst>
                  <a:gd name="adj1" fmla="val 50576"/>
                  <a:gd name="adj2" fmla="val 45114"/>
                </a:avLst>
              </a:prstGeom>
              <a:ln w="2857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6" name="椭圆 4"/>
            <p:cNvSpPr/>
            <p:nvPr/>
          </p:nvSpPr>
          <p:spPr>
            <a:xfrm>
              <a:off x="7812356" y="1467171"/>
              <a:ext cx="467060" cy="4670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2000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138582" y="859083"/>
            <a:ext cx="2947010" cy="5998917"/>
            <a:chOff x="6274432" y="958233"/>
            <a:chExt cx="2947010" cy="4499188"/>
          </a:xfrm>
        </p:grpSpPr>
        <p:sp>
          <p:nvSpPr>
            <p:cNvPr id="23" name="TextBox 22"/>
            <p:cNvSpPr txBox="1"/>
            <p:nvPr/>
          </p:nvSpPr>
          <p:spPr>
            <a:xfrm>
              <a:off x="6274432" y="1280584"/>
              <a:ext cx="2705226" cy="2769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zh-CN" sz="3600" b="1" dirty="0" smtClean="0">
                  <a:solidFill>
                    <a:srgbClr val="3BAFF7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if</a:t>
              </a:r>
            </a:p>
            <a:p>
              <a:pPr algn="r">
                <a:lnSpc>
                  <a:spcPct val="150000"/>
                </a:lnSpc>
              </a:pPr>
              <a:r>
                <a:rPr lang="zh-CN" altLang="en-US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当一个智能设备达到某条件</a:t>
              </a:r>
              <a:endParaRPr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r">
                <a:lnSpc>
                  <a:spcPct val="150000"/>
                </a:lnSpc>
              </a:pPr>
              <a:endParaRPr lang="en-US" altLang="zh-CN" sz="2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r">
                <a:lnSpc>
                  <a:spcPct val="150000"/>
                </a:lnSpc>
              </a:pPr>
              <a:r>
                <a:rPr lang="en-US" altLang="zh-CN" sz="3600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3600" b="1" dirty="0" smtClean="0">
                  <a:solidFill>
                    <a:srgbClr val="3BAFF7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do</a:t>
              </a:r>
              <a:endParaRPr lang="en-US" altLang="zh-CN" sz="2800" b="1" dirty="0" smtClean="0">
                <a:solidFill>
                  <a:srgbClr val="3BAFF7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 algn="r">
                <a:lnSpc>
                  <a:spcPct val="150000"/>
                </a:lnSpc>
              </a:pPr>
              <a:r>
                <a:rPr lang="zh-CN" altLang="en-US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另一个智能设备执行某操作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CN" sz="3200" dirty="0" smtClean="0">
                  <a:solidFill>
                    <a:schemeClr val="bg1">
                      <a:lumMod val="6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zh-CN" altLang="en-US" sz="32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" name="直接连接符 17"/>
            <p:cNvCxnSpPr/>
            <p:nvPr/>
          </p:nvCxnSpPr>
          <p:spPr>
            <a:xfrm>
              <a:off x="9221442" y="958233"/>
              <a:ext cx="0" cy="449918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组合 12"/>
          <p:cNvGrpSpPr/>
          <p:nvPr/>
        </p:nvGrpSpPr>
        <p:grpSpPr>
          <a:xfrm>
            <a:off x="8440744" y="1685241"/>
            <a:ext cx="447043" cy="448074"/>
            <a:chOff x="3502697" y="161636"/>
            <a:chExt cx="511276" cy="511276"/>
          </a:xfrm>
        </p:grpSpPr>
        <p:sp>
          <p:nvSpPr>
            <p:cNvPr id="14" name="椭圆 13"/>
            <p:cNvSpPr/>
            <p:nvPr/>
          </p:nvSpPr>
          <p:spPr>
            <a:xfrm>
              <a:off x="3502697" y="161636"/>
              <a:ext cx="511276" cy="511276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-3720641"/>
                <a:satOff val="22416"/>
                <a:lumOff val="1797"/>
                <a:alphaOff val="0"/>
              </a:schemeClr>
            </a:fillRef>
            <a:effectRef idx="0">
              <a:schemeClr val="accent4">
                <a:hueOff val="-3720641"/>
                <a:satOff val="22416"/>
                <a:lumOff val="1797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椭圆 4"/>
            <p:cNvSpPr/>
            <p:nvPr/>
          </p:nvSpPr>
          <p:spPr>
            <a:xfrm>
              <a:off x="3575459" y="179399"/>
              <a:ext cx="361527" cy="36152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400" kern="1200" dirty="0" smtClean="0"/>
                <a:t>…</a:t>
              </a:r>
              <a:endParaRPr lang="zh-CN" altLang="en-US" sz="14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4441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4257" y="1330659"/>
            <a:ext cx="2628900" cy="510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直接连接符 4"/>
          <p:cNvCxnSpPr/>
          <p:nvPr/>
        </p:nvCxnSpPr>
        <p:spPr>
          <a:xfrm flipV="1">
            <a:off x="7308305" y="4293096"/>
            <a:ext cx="595493" cy="452027"/>
          </a:xfrm>
          <a:prstGeom prst="line">
            <a:avLst/>
          </a:prstGeom>
          <a:ln w="25400" cap="rnd">
            <a:solidFill>
              <a:srgbClr val="3897F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图示 2"/>
          <p:cNvGraphicFramePr/>
          <p:nvPr>
            <p:extLst>
              <p:ext uri="{D42A27DB-BD31-4B8C-83A1-F6EECF244321}">
                <p14:modId xmlns:p14="http://schemas.microsoft.com/office/powerpoint/2010/main" val="547256288"/>
              </p:ext>
            </p:extLst>
          </p:nvPr>
        </p:nvGraphicFramePr>
        <p:xfrm>
          <a:off x="179512" y="1418712"/>
          <a:ext cx="5472608" cy="481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京东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云提供强大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超级</a:t>
            </a:r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194" name="Picture 2" descr="D:\工作文件\通用\发布会PPT\hand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6237" y="4437112"/>
            <a:ext cx="1657659" cy="2210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内容占位符 1"/>
          <p:cNvSpPr txBox="1">
            <a:spLocks/>
          </p:cNvSpPr>
          <p:nvPr/>
        </p:nvSpPr>
        <p:spPr>
          <a:xfrm>
            <a:off x="6948264" y="3864121"/>
            <a:ext cx="1381193" cy="440095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Font typeface="Arial" pitchFamily="34" charset="0"/>
              <a:buNone/>
            </a:pPr>
            <a:r>
              <a:rPr lang="zh-CN" altLang="en-US" sz="1000" dirty="0" smtClean="0">
                <a:solidFill>
                  <a:srgbClr val="3897F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即将推出</a:t>
            </a:r>
            <a:endParaRPr lang="en-US" altLang="zh-CN" sz="1000" dirty="0" smtClean="0">
              <a:solidFill>
                <a:srgbClr val="3897F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indent="0" algn="ctr">
              <a:buFont typeface="Arial" pitchFamily="34" charset="0"/>
              <a:buNone/>
            </a:pPr>
            <a:r>
              <a:rPr lang="zh-CN" altLang="en-US" sz="1000" dirty="0" smtClean="0">
                <a:solidFill>
                  <a:srgbClr val="3897F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语音遥控</a:t>
            </a:r>
            <a:r>
              <a:rPr lang="en-US" altLang="zh-CN" sz="1000" dirty="0" smtClean="0">
                <a:solidFill>
                  <a:srgbClr val="3897F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  <p:pic>
        <p:nvPicPr>
          <p:cNvPr id="2052" name="Picture 4" descr="D:\工作文件\通用\发布会PPT\麦克风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0966" y="2883224"/>
            <a:ext cx="916674" cy="98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3142271"/>
            <a:ext cx="1800000" cy="1582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4415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4294967295"/>
          </p:nvPr>
        </p:nvSpPr>
        <p:spPr>
          <a:xfrm>
            <a:off x="2014748" y="1653431"/>
            <a:ext cx="1081088" cy="479425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zh-CN" altLang="en-US" sz="18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于京东</a:t>
            </a:r>
            <a:endParaRPr lang="en-US" altLang="zh-CN" sz="18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0" indent="0">
              <a:buNone/>
            </a:pPr>
            <a:endParaRPr lang="en-US" altLang="zh-CN" sz="1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椭圆 5"/>
          <p:cNvSpPr/>
          <p:nvPr/>
        </p:nvSpPr>
        <p:spPr>
          <a:xfrm>
            <a:off x="1331640" y="1516415"/>
            <a:ext cx="576064" cy="576064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1</a:t>
            </a:r>
            <a:endParaRPr lang="zh-CN" altLang="en-US" sz="1600" dirty="0" smtClean="0">
              <a:solidFill>
                <a:srgbClr val="000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7" name="内容占位符 2"/>
          <p:cNvSpPr txBox="1">
            <a:spLocks/>
          </p:cNvSpPr>
          <p:nvPr/>
        </p:nvSpPr>
        <p:spPr>
          <a:xfrm>
            <a:off x="5577881" y="1644057"/>
            <a:ext cx="1152128" cy="560807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zh-CN" altLang="en-US" sz="18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背景</a:t>
            </a:r>
            <a:endParaRPr lang="en-US" altLang="zh-CN" sz="1800" dirty="0" smtClean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Font typeface="Arial" pitchFamily="34" charset="0"/>
              <a:buNone/>
            </a:pPr>
            <a:endParaRPr lang="en-US" altLang="zh-CN" sz="1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椭圆 17"/>
          <p:cNvSpPr/>
          <p:nvPr/>
        </p:nvSpPr>
        <p:spPr>
          <a:xfrm>
            <a:off x="4932040" y="1516415"/>
            <a:ext cx="573833" cy="576064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</a:t>
            </a:r>
            <a:endParaRPr lang="zh-CN" altLang="en-US" sz="1600" dirty="0" smtClean="0">
              <a:solidFill>
                <a:srgbClr val="000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9" name="内容占位符 2"/>
          <p:cNvSpPr txBox="1">
            <a:spLocks/>
          </p:cNvSpPr>
          <p:nvPr/>
        </p:nvSpPr>
        <p:spPr>
          <a:xfrm>
            <a:off x="1977482" y="2996952"/>
            <a:ext cx="1858551" cy="57606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zh-CN" altLang="en-US" sz="18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智能化业务</a:t>
            </a:r>
          </a:p>
          <a:p>
            <a:pPr marL="0" indent="0">
              <a:buFont typeface="Arial" pitchFamily="34" charset="0"/>
              <a:buNone/>
            </a:pPr>
            <a:endParaRPr lang="en-US" altLang="zh-CN" sz="1800" dirty="0" smtClean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椭圆 19"/>
          <p:cNvSpPr/>
          <p:nvPr/>
        </p:nvSpPr>
        <p:spPr>
          <a:xfrm>
            <a:off x="1331640" y="2883205"/>
            <a:ext cx="587490" cy="576064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3</a:t>
            </a:r>
            <a:endParaRPr lang="zh-CN" altLang="en-US" sz="1600" dirty="0" smtClean="0">
              <a:solidFill>
                <a:srgbClr val="000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1" name="内容占位符 2"/>
          <p:cNvSpPr txBox="1">
            <a:spLocks/>
          </p:cNvSpPr>
          <p:nvPr/>
        </p:nvSpPr>
        <p:spPr>
          <a:xfrm>
            <a:off x="5577881" y="3020955"/>
            <a:ext cx="1296144" cy="48005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zh-CN" altLang="en-US" sz="17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智能云</a:t>
            </a:r>
          </a:p>
        </p:txBody>
      </p:sp>
      <p:sp>
        <p:nvSpPr>
          <p:cNvPr id="22" name="椭圆 21"/>
          <p:cNvSpPr/>
          <p:nvPr/>
        </p:nvSpPr>
        <p:spPr>
          <a:xfrm>
            <a:off x="4932040" y="2883205"/>
            <a:ext cx="573833" cy="576064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4</a:t>
            </a:r>
            <a:endParaRPr lang="zh-CN" altLang="en-US" sz="1600" dirty="0" smtClean="0">
              <a:solidFill>
                <a:srgbClr val="000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4" name="椭圆 23"/>
          <p:cNvSpPr/>
          <p:nvPr/>
        </p:nvSpPr>
        <p:spPr>
          <a:xfrm>
            <a:off x="1331640" y="4293096"/>
            <a:ext cx="587490" cy="576064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5</a:t>
            </a:r>
            <a:endParaRPr lang="zh-CN" altLang="en-US" sz="1600" dirty="0" smtClean="0">
              <a:solidFill>
                <a:srgbClr val="000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6" name="椭圆 25"/>
          <p:cNvSpPr/>
          <p:nvPr/>
        </p:nvSpPr>
        <p:spPr>
          <a:xfrm>
            <a:off x="4932040" y="4293096"/>
            <a:ext cx="573833" cy="576064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6</a:t>
            </a:r>
            <a:endParaRPr lang="zh-CN" altLang="en-US" sz="1600" dirty="0" smtClean="0">
              <a:solidFill>
                <a:srgbClr val="00000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8" name="内容占位符 2"/>
          <p:cNvSpPr txBox="1">
            <a:spLocks/>
          </p:cNvSpPr>
          <p:nvPr/>
        </p:nvSpPr>
        <p:spPr>
          <a:xfrm>
            <a:off x="1977482" y="4413109"/>
            <a:ext cx="1110411" cy="52805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zh-CN" altLang="en-US" sz="18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场景</a:t>
            </a:r>
            <a:endParaRPr lang="en-US" altLang="zh-CN" sz="1800" dirty="0" smtClean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内容占位符 2"/>
          <p:cNvSpPr txBox="1">
            <a:spLocks/>
          </p:cNvSpPr>
          <p:nvPr/>
        </p:nvSpPr>
        <p:spPr>
          <a:xfrm>
            <a:off x="5577882" y="4437112"/>
            <a:ext cx="1642527" cy="57606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zh-CN" altLang="en-US" sz="18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携手合作伙伴</a:t>
            </a:r>
          </a:p>
        </p:txBody>
      </p:sp>
      <p:sp>
        <p:nvSpPr>
          <p:cNvPr id="31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108963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标题 1"/>
          <p:cNvSpPr txBox="1">
            <a:spLocks/>
          </p:cNvSpPr>
          <p:nvPr/>
        </p:nvSpPr>
        <p:spPr>
          <a:xfrm>
            <a:off x="395536" y="260648"/>
            <a:ext cx="568863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京东智能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云为消费者提供一站式的智能生活体验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69" y="1428840"/>
            <a:ext cx="8218487" cy="410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78080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D:\工作文件\通用\发布会PPT\家居云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2708920"/>
            <a:ext cx="3240360" cy="1769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矩形 1"/>
          <p:cNvSpPr/>
          <p:nvPr/>
        </p:nvSpPr>
        <p:spPr>
          <a:xfrm>
            <a:off x="3635896" y="1952873"/>
            <a:ext cx="4176464" cy="2976329"/>
          </a:xfrm>
          <a:prstGeom prst="rect">
            <a:avLst/>
          </a:prstGeom>
          <a:noFill/>
          <a:ln w="3175">
            <a:solidFill>
              <a:srgbClr val="3BAFF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876256" y="2132856"/>
            <a:ext cx="2016224" cy="75771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275856" y="1760851"/>
            <a:ext cx="1224136" cy="338554"/>
          </a:xfrm>
          <a:prstGeom prst="rect">
            <a:avLst/>
          </a:prstGeom>
          <a:solidFill>
            <a:srgbClr val="0071E2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智能家电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6588224" y="2276872"/>
            <a:ext cx="2016224" cy="613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温湿度、光照、颗粒物、</a:t>
            </a:r>
            <a:endParaRPr lang="en-US" altLang="zh-CN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装修污染提醒</a:t>
            </a:r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6660232" y="5085184"/>
            <a:ext cx="1872208" cy="1118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家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安全随时了解，</a:t>
            </a:r>
            <a:endParaRPr lang="en-US" altLang="zh-CN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600"/>
              </a:lnSpc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煤气烟感自动报警</a:t>
            </a:r>
            <a:endParaRPr lang="en-US" altLang="zh-CN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6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视频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识别、 感知</a:t>
            </a:r>
            <a:endParaRPr lang="en-US" altLang="zh-CN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600"/>
              </a:lnSpc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不同用户的身份和行为</a:t>
            </a:r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600"/>
              </a:lnSpc>
            </a:pPr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3203848" y="5085184"/>
            <a:ext cx="21129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插座、灯光等智能管理，用电用气量统计分析</a:t>
            </a:r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标题 1"/>
          <p:cNvSpPr txBox="1">
            <a:spLocks/>
          </p:cNvSpPr>
          <p:nvPr/>
        </p:nvSpPr>
        <p:spPr>
          <a:xfrm>
            <a:off x="395536" y="260648"/>
            <a:ext cx="1944216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家居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新体验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275856" y="4619646"/>
            <a:ext cx="1224136" cy="338554"/>
          </a:xfrm>
          <a:prstGeom prst="rect">
            <a:avLst/>
          </a:prstGeom>
          <a:solidFill>
            <a:srgbClr val="0071E2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能源管理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020272" y="1760851"/>
            <a:ext cx="1224136" cy="338554"/>
          </a:xfrm>
          <a:prstGeom prst="rect">
            <a:avLst/>
          </a:prstGeom>
          <a:solidFill>
            <a:srgbClr val="0071E2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环境监测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020272" y="4619646"/>
            <a:ext cx="1224136" cy="338554"/>
          </a:xfrm>
          <a:prstGeom prst="rect">
            <a:avLst/>
          </a:prstGeom>
          <a:solidFill>
            <a:srgbClr val="0071E2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安防</a:t>
            </a:r>
          </a:p>
        </p:txBody>
      </p:sp>
      <p:sp>
        <p:nvSpPr>
          <p:cNvPr id="3" name="矩形 2"/>
          <p:cNvSpPr/>
          <p:nvPr/>
        </p:nvSpPr>
        <p:spPr>
          <a:xfrm>
            <a:off x="2987824" y="2204864"/>
            <a:ext cx="2016224" cy="6469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3203848" y="2204864"/>
            <a:ext cx="16561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化随时随地操控，</a:t>
            </a:r>
            <a:endParaRPr lang="en-US" altLang="zh-CN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程售后即时服务</a:t>
            </a:r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标题 1"/>
          <p:cNvSpPr txBox="1">
            <a:spLocks/>
          </p:cNvSpPr>
          <p:nvPr/>
        </p:nvSpPr>
        <p:spPr>
          <a:xfrm>
            <a:off x="3131840" y="1059210"/>
            <a:ext cx="5112568" cy="41819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家居：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种智能设备的远程控制和智慧互联。</a:t>
            </a:r>
            <a:endParaRPr lang="en-US" altLang="zh-CN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50" name="Picture 2" descr="D:\05 Product\UI\2014-10-07-17-52-2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24" y="1772816"/>
            <a:ext cx="2880000" cy="4737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5853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组合 16"/>
          <p:cNvGrpSpPr/>
          <p:nvPr/>
        </p:nvGrpSpPr>
        <p:grpSpPr>
          <a:xfrm>
            <a:off x="3595827" y="1484784"/>
            <a:ext cx="4705088" cy="3642750"/>
            <a:chOff x="204262" y="2823528"/>
            <a:chExt cx="4705088" cy="3708251"/>
          </a:xfrm>
        </p:grpSpPr>
        <p:grpSp>
          <p:nvGrpSpPr>
            <p:cNvPr id="18" name="组合 17"/>
            <p:cNvGrpSpPr/>
            <p:nvPr/>
          </p:nvGrpSpPr>
          <p:grpSpPr>
            <a:xfrm>
              <a:off x="204262" y="2823528"/>
              <a:ext cx="4608512" cy="3574152"/>
              <a:chOff x="344750" y="2448904"/>
              <a:chExt cx="5966750" cy="4627540"/>
            </a:xfrm>
          </p:grpSpPr>
          <p:pic>
            <p:nvPicPr>
              <p:cNvPr id="22" name="Picture 2" descr="http://smart.jd.com/assets/images/cloudhealth/pic1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6668" y="2448904"/>
                <a:ext cx="2278843" cy="21285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4" descr="http://smart.jd.com/assets/images/cloudhealth/pic2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41103" y="2448904"/>
                <a:ext cx="1239636" cy="19442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6" descr="http://smart.jd.com/assets/images/cloudhealth/pic3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81730" y="2448904"/>
                <a:ext cx="2129770" cy="22232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8" descr="http://smart.jd.com/assets/images/cloudhealth/pic4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4750" y="4890561"/>
                <a:ext cx="1979718" cy="21138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2" name="Picture 10" descr="http://smart.jd.com/assets/images/cloudhealth/pic5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02590" y="4890561"/>
                <a:ext cx="1874177" cy="21858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0" name="Picture 12" descr="http://smart.jd.com/assets/images/cloudhealth/pic7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1158" y="4709380"/>
              <a:ext cx="1728192" cy="18223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33" name="图示 32"/>
          <p:cNvGraphicFramePr/>
          <p:nvPr>
            <p:extLst>
              <p:ext uri="{D42A27DB-BD31-4B8C-83A1-F6EECF244321}">
                <p14:modId xmlns:p14="http://schemas.microsoft.com/office/powerpoint/2010/main" val="149476418"/>
              </p:ext>
            </p:extLst>
          </p:nvPr>
        </p:nvGraphicFramePr>
        <p:xfrm>
          <a:off x="251520" y="5229200"/>
          <a:ext cx="8568952" cy="13882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34" name="矩形 33"/>
          <p:cNvSpPr/>
          <p:nvPr/>
        </p:nvSpPr>
        <p:spPr>
          <a:xfrm>
            <a:off x="1856367" y="6479758"/>
            <a:ext cx="74892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营养顾问</a:t>
            </a:r>
            <a:endParaRPr lang="zh-CN" altLang="en-US" sz="11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467545" y="6479758"/>
            <a:ext cx="88998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健康设备商</a:t>
            </a:r>
            <a:endParaRPr lang="zh-CN" altLang="en-US" sz="11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2915817" y="6479758"/>
            <a:ext cx="88998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食品原产地</a:t>
            </a:r>
            <a:endParaRPr lang="zh-CN" altLang="en-US" sz="11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4067945" y="6479758"/>
            <a:ext cx="74892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商城</a:t>
            </a:r>
            <a:endParaRPr lang="zh-CN" altLang="en-US" sz="11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5364089" y="6479758"/>
            <a:ext cx="74892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动顾问</a:t>
            </a:r>
            <a:endParaRPr lang="zh-CN" altLang="en-US" sz="11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7700283" y="6479758"/>
            <a:ext cx="88998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睡眠监测仪</a:t>
            </a:r>
            <a:endParaRPr lang="zh-CN" altLang="en-US" sz="11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6436078" y="6479758"/>
            <a:ext cx="74892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私人医生</a:t>
            </a:r>
            <a:endParaRPr lang="zh-CN" altLang="en-US" sz="11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标题 1"/>
          <p:cNvSpPr txBox="1">
            <a:spLocks/>
          </p:cNvSpPr>
          <p:nvPr/>
        </p:nvSpPr>
        <p:spPr>
          <a:xfrm>
            <a:off x="395536" y="260648"/>
            <a:ext cx="1944216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慧健康生活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标题 1"/>
          <p:cNvSpPr txBox="1">
            <a:spLocks/>
          </p:cNvSpPr>
          <p:nvPr/>
        </p:nvSpPr>
        <p:spPr>
          <a:xfrm>
            <a:off x="3563888" y="980728"/>
            <a:ext cx="4640451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健康生活：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让您的智能设备比你更懂你。</a:t>
            </a:r>
            <a:endParaRPr lang="en-US" altLang="zh-CN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074" name="Picture 2" descr="D:\05 Product\UI\2014-10-07-17-52-4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824" y="1003610"/>
            <a:ext cx="2700000" cy="444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7414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3923928" y="836712"/>
            <a:ext cx="4572000" cy="96949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车况信息采集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您</a:t>
            </a: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详细</a:t>
            </a:r>
            <a:r>
              <a:rPr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检测汽车多种系统实时状况，给您最</a:t>
            </a:r>
            <a:endParaRPr lang="en-US" altLang="zh-CN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贴心的保养及维修体系。</a:t>
            </a:r>
            <a:endParaRPr lang="zh-CN" altLang="en-US" sz="11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923928" y="1739424"/>
            <a:ext cx="4572000" cy="96949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驾驶习惯分析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</a:t>
            </a:r>
            <a:r>
              <a:rPr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分析您的车辆状况及驾驶行为，</a:t>
            </a:r>
            <a:endParaRPr lang="en-US" altLang="zh-CN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帮您改善不良驾驶习惯</a:t>
            </a: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sp>
        <p:nvSpPr>
          <p:cNvPr id="22" name="矩形 21"/>
          <p:cNvSpPr/>
          <p:nvPr/>
        </p:nvSpPr>
        <p:spPr>
          <a:xfrm>
            <a:off x="3923928" y="2636912"/>
            <a:ext cx="4896544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优质的汽车消费服务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合</a:t>
            </a: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车险、支付、线</a:t>
            </a:r>
            <a:r>
              <a:rPr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</a:t>
            </a:r>
            <a:r>
              <a:rPr lang="en-US" altLang="zh-CN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2O</a:t>
            </a:r>
            <a:r>
              <a:rPr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资源</a:t>
            </a:r>
            <a:r>
              <a:rPr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en-US" altLang="zh-CN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况数据，提供预约、保养、维修等服务。</a:t>
            </a:r>
          </a:p>
        </p:txBody>
      </p:sp>
      <p:sp>
        <p:nvSpPr>
          <p:cNvPr id="23" name="标题 1"/>
          <p:cNvSpPr txBox="1">
            <a:spLocks/>
          </p:cNvSpPr>
          <p:nvPr/>
        </p:nvSpPr>
        <p:spPr>
          <a:xfrm>
            <a:off x="395536" y="260648"/>
            <a:ext cx="1944216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汽车服务</a:t>
            </a:r>
            <a:endParaRPr lang="en-US" altLang="zh-CN" sz="1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386" name="Picture 2" descr="C:\Users\Administrator\Downloads\16606576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3573016"/>
            <a:ext cx="4619690" cy="3240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D:\05 Product\UI\2014-10-07-17-52-47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48" y="1237548"/>
            <a:ext cx="2880000" cy="4737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011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1"/>
          <p:cNvSpPr txBox="1">
            <a:spLocks/>
          </p:cNvSpPr>
          <p:nvPr/>
        </p:nvSpPr>
        <p:spPr>
          <a:xfrm>
            <a:off x="395536" y="260648"/>
            <a:ext cx="1656184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空间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23528" y="965240"/>
            <a:ext cx="4176464" cy="810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zh-CN" altLang="en-US" sz="120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件，照片</a:t>
            </a:r>
            <a:r>
              <a:rPr lang="zh-CN" altLang="en-US" sz="120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音乐，视频等个人信息的云端永久</a:t>
            </a:r>
            <a:r>
              <a:rPr lang="zh-CN" altLang="en-US" sz="120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存储</a:t>
            </a:r>
          </a:p>
          <a:p>
            <a:pPr marL="171450" indent="-171450"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zh-CN" altLang="en-US" sz="120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文件与智能打印机的互动</a:t>
            </a:r>
          </a:p>
        </p:txBody>
      </p:sp>
      <p:pic>
        <p:nvPicPr>
          <p:cNvPr id="14347" name="Picture 11" descr="D:\工作文件\通用\发布会PPT\手机生活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4202" y="2492896"/>
            <a:ext cx="5774302" cy="4176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D:\05 Product\UI\2014-10-07-17-53-1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56" y="1916832"/>
            <a:ext cx="2880000" cy="4737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499992" y="952646"/>
            <a:ext cx="410445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zh-CN" altLang="en-US" sz="120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zh-CN" altLang="en-US" sz="120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照片与智能显示屏之间的</a:t>
            </a:r>
            <a:r>
              <a:rPr lang="zh-CN" altLang="en-US" sz="120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互动</a:t>
            </a:r>
            <a:endParaRPr lang="zh-CN" altLang="en-US" sz="1200" spc="5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zh-CN" altLang="en-US" sz="120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zh-CN" altLang="en-US" sz="120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音乐与智能音响设备的</a:t>
            </a:r>
            <a:r>
              <a:rPr lang="zh-CN" altLang="en-US" sz="120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互动</a:t>
            </a:r>
            <a:endParaRPr lang="en-US" altLang="zh-CN" sz="1200" spc="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zh-CN" altLang="en-US" sz="120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zh-CN" altLang="en-US" sz="120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视频与智能播放器之间的</a:t>
            </a:r>
            <a:r>
              <a:rPr lang="zh-CN" altLang="en-US" sz="120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互动</a:t>
            </a:r>
            <a:endParaRPr lang="zh-CN" altLang="en-US" sz="1200" spc="5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8882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395536" y="260648"/>
            <a:ext cx="676875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将携手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合作伙伴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打造中国最大的智能</a:t>
            </a: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硬件生态圈</a:t>
            </a:r>
          </a:p>
        </p:txBody>
      </p:sp>
      <p:pic>
        <p:nvPicPr>
          <p:cNvPr id="2050" name="Picture 2" descr="C:\Users\Administrator\Documents\JDdongdong\JIMEnterprise\yanghongbo\Image\f7eb2b2c-299f-414a-a8f4-924e7434f6f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93" y="1556792"/>
            <a:ext cx="9130307" cy="4374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9472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395536" y="260648"/>
            <a:ext cx="676875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加入京东云合作流程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096963" y="3297238"/>
            <a:ext cx="1041400" cy="1052512"/>
            <a:chOff x="691" y="2077"/>
            <a:chExt cx="656" cy="663"/>
          </a:xfrm>
        </p:grpSpPr>
        <p:pic>
          <p:nvPicPr>
            <p:cNvPr id="6" name="Picture 3" descr="circuler_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91" y="2077"/>
              <a:ext cx="656" cy="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Oval 4"/>
            <p:cNvSpPr>
              <a:spLocks noChangeArrowheads="1"/>
            </p:cNvSpPr>
            <p:nvPr/>
          </p:nvSpPr>
          <p:spPr bwMode="gray">
            <a:xfrm>
              <a:off x="691" y="2077"/>
              <a:ext cx="652" cy="663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chemeClr val="hlink">
                    <a:gamma/>
                    <a:tint val="22353"/>
                    <a:invGamma/>
                  </a:schemeClr>
                </a:gs>
                <a:gs pos="100000">
                  <a:schemeClr val="hlink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8" name="Group 5"/>
            <p:cNvGrpSpPr>
              <a:grpSpLocks/>
            </p:cNvGrpSpPr>
            <p:nvPr/>
          </p:nvGrpSpPr>
          <p:grpSpPr bwMode="auto">
            <a:xfrm>
              <a:off x="737" y="2609"/>
              <a:ext cx="575" cy="110"/>
              <a:chOff x="3704" y="1872"/>
              <a:chExt cx="827" cy="156"/>
            </a:xfrm>
          </p:grpSpPr>
          <p:grpSp>
            <p:nvGrpSpPr>
              <p:cNvPr id="9" name="Group 6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15" name="AutoShape 7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6" name="AutoShape 8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7" name="AutoShape 9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" name="AutoShape 10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" name="Group 11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11" name="AutoShape 12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" name="AutoShape 13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" name="AutoShape 14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" name="AutoShape 15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grpSp>
        <p:nvGrpSpPr>
          <p:cNvPr id="19" name="Group 16"/>
          <p:cNvGrpSpPr>
            <a:grpSpLocks/>
          </p:cNvGrpSpPr>
          <p:nvPr/>
        </p:nvGrpSpPr>
        <p:grpSpPr bwMode="auto">
          <a:xfrm>
            <a:off x="3060700" y="3289300"/>
            <a:ext cx="1041400" cy="1052513"/>
            <a:chOff x="1928" y="2072"/>
            <a:chExt cx="656" cy="663"/>
          </a:xfrm>
        </p:grpSpPr>
        <p:pic>
          <p:nvPicPr>
            <p:cNvPr id="20" name="Picture 17" descr="circuler_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928" y="2072"/>
              <a:ext cx="656" cy="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Oval 18"/>
            <p:cNvSpPr>
              <a:spLocks noChangeArrowheads="1"/>
            </p:cNvSpPr>
            <p:nvPr/>
          </p:nvSpPr>
          <p:spPr bwMode="gray">
            <a:xfrm>
              <a:off x="1928" y="2072"/>
              <a:ext cx="652" cy="663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50000">
                  <a:schemeClr val="accent2">
                    <a:gamma/>
                    <a:tint val="22353"/>
                    <a:invGamma/>
                  </a:schemeClr>
                </a:gs>
                <a:gs pos="100000">
                  <a:schemeClr val="accent2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2" name="Group 19"/>
            <p:cNvGrpSpPr>
              <a:grpSpLocks/>
            </p:cNvGrpSpPr>
            <p:nvPr/>
          </p:nvGrpSpPr>
          <p:grpSpPr bwMode="auto">
            <a:xfrm>
              <a:off x="1974" y="2604"/>
              <a:ext cx="575" cy="110"/>
              <a:chOff x="3704" y="1872"/>
              <a:chExt cx="827" cy="156"/>
            </a:xfrm>
          </p:grpSpPr>
          <p:grpSp>
            <p:nvGrpSpPr>
              <p:cNvPr id="23" name="Group 20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29" name="AutoShape 21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" name="AutoShape 22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1" name="AutoShape 23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2" name="AutoShape 24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24" name="Group 25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25" name="AutoShape 26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" name="AutoShape 27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" name="AutoShape 28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8" name="AutoShape 29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grpSp>
        <p:nvGrpSpPr>
          <p:cNvPr id="33" name="Group 30"/>
          <p:cNvGrpSpPr>
            <a:grpSpLocks/>
          </p:cNvGrpSpPr>
          <p:nvPr/>
        </p:nvGrpSpPr>
        <p:grpSpPr bwMode="auto">
          <a:xfrm>
            <a:off x="4999038" y="3300413"/>
            <a:ext cx="1041400" cy="1050925"/>
            <a:chOff x="3149" y="2079"/>
            <a:chExt cx="656" cy="662"/>
          </a:xfrm>
        </p:grpSpPr>
        <p:pic>
          <p:nvPicPr>
            <p:cNvPr id="34" name="Picture 31" descr="circuler_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149" y="2079"/>
              <a:ext cx="656" cy="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Oval 32"/>
            <p:cNvSpPr>
              <a:spLocks noChangeArrowheads="1"/>
            </p:cNvSpPr>
            <p:nvPr/>
          </p:nvSpPr>
          <p:spPr bwMode="gray">
            <a:xfrm>
              <a:off x="3149" y="2079"/>
              <a:ext cx="652" cy="662"/>
            </a:xfrm>
            <a:prstGeom prst="ellipse">
              <a:avLst/>
            </a:prstGeom>
            <a:gradFill rotWithShape="1">
              <a:gsLst>
                <a:gs pos="0">
                  <a:schemeClr val="folHlink"/>
                </a:gs>
                <a:gs pos="50000">
                  <a:schemeClr val="folHlink">
                    <a:gamma/>
                    <a:tint val="22353"/>
                    <a:invGamma/>
                  </a:schemeClr>
                </a:gs>
                <a:gs pos="100000">
                  <a:schemeClr val="folHlink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" name="Group 33"/>
            <p:cNvGrpSpPr>
              <a:grpSpLocks/>
            </p:cNvGrpSpPr>
            <p:nvPr/>
          </p:nvGrpSpPr>
          <p:grpSpPr bwMode="auto">
            <a:xfrm>
              <a:off x="3195" y="2610"/>
              <a:ext cx="575" cy="111"/>
              <a:chOff x="3704" y="1872"/>
              <a:chExt cx="827" cy="156"/>
            </a:xfrm>
          </p:grpSpPr>
          <p:grpSp>
            <p:nvGrpSpPr>
              <p:cNvPr id="37" name="Group 34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43" name="AutoShape 35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4" name="AutoShape 36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5" name="AutoShape 37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6" name="AutoShape 38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38" name="Group 39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39" name="AutoShape 40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0" name="AutoShape 41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1" name="AutoShape 42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2" name="AutoShape 43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grpSp>
        <p:nvGrpSpPr>
          <p:cNvPr id="47" name="Group 44"/>
          <p:cNvGrpSpPr>
            <a:grpSpLocks/>
          </p:cNvGrpSpPr>
          <p:nvPr/>
        </p:nvGrpSpPr>
        <p:grpSpPr bwMode="auto">
          <a:xfrm>
            <a:off x="6961188" y="3292475"/>
            <a:ext cx="1041400" cy="1050925"/>
            <a:chOff x="4385" y="2074"/>
            <a:chExt cx="656" cy="662"/>
          </a:xfrm>
        </p:grpSpPr>
        <p:pic>
          <p:nvPicPr>
            <p:cNvPr id="48" name="Picture 45" descr="circuler_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85" y="2074"/>
              <a:ext cx="656" cy="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9" name="Oval 46"/>
            <p:cNvSpPr>
              <a:spLocks noChangeArrowheads="1"/>
            </p:cNvSpPr>
            <p:nvPr/>
          </p:nvSpPr>
          <p:spPr bwMode="gray">
            <a:xfrm>
              <a:off x="4385" y="2074"/>
              <a:ext cx="652" cy="662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50000">
                  <a:schemeClr val="accent1">
                    <a:gamma/>
                    <a:tint val="22353"/>
                    <a:invGamma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0" name="Group 47"/>
            <p:cNvGrpSpPr>
              <a:grpSpLocks/>
            </p:cNvGrpSpPr>
            <p:nvPr/>
          </p:nvGrpSpPr>
          <p:grpSpPr bwMode="auto">
            <a:xfrm>
              <a:off x="4431" y="2605"/>
              <a:ext cx="575" cy="111"/>
              <a:chOff x="3704" y="1872"/>
              <a:chExt cx="827" cy="156"/>
            </a:xfrm>
          </p:grpSpPr>
          <p:grpSp>
            <p:nvGrpSpPr>
              <p:cNvPr id="51" name="Group 48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57" name="AutoShape 49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8" name="AutoShape 50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9" name="AutoShape 51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60" name="AutoShape 52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52" name="Group 53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53" name="AutoShape 54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4" name="AutoShape 55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5" name="AutoShape 56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6" name="AutoShape 57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sp>
        <p:nvSpPr>
          <p:cNvPr id="61" name="Line 58"/>
          <p:cNvSpPr>
            <a:spLocks noChangeShapeType="1"/>
          </p:cNvSpPr>
          <p:nvPr/>
        </p:nvSpPr>
        <p:spPr bwMode="gray">
          <a:xfrm>
            <a:off x="1612900" y="44450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Line 59"/>
          <p:cNvSpPr>
            <a:spLocks noChangeShapeType="1"/>
          </p:cNvSpPr>
          <p:nvPr/>
        </p:nvSpPr>
        <p:spPr bwMode="gray">
          <a:xfrm flipH="1">
            <a:off x="857250" y="4789488"/>
            <a:ext cx="1495425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Text Box 61"/>
          <p:cNvSpPr txBox="1">
            <a:spLocks noChangeArrowheads="1"/>
          </p:cNvSpPr>
          <p:nvPr/>
        </p:nvSpPr>
        <p:spPr bwMode="gray">
          <a:xfrm>
            <a:off x="1008857" y="3635732"/>
            <a:ext cx="125888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初步洽谈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Text Box 62"/>
          <p:cNvSpPr txBox="1">
            <a:spLocks noChangeArrowheads="1"/>
          </p:cNvSpPr>
          <p:nvPr/>
        </p:nvSpPr>
        <p:spPr bwMode="gray">
          <a:xfrm>
            <a:off x="2987824" y="3635732"/>
            <a:ext cx="11453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对接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Text Box 63"/>
          <p:cNvSpPr txBox="1">
            <a:spLocks noChangeArrowheads="1"/>
          </p:cNvSpPr>
          <p:nvPr/>
        </p:nvSpPr>
        <p:spPr bwMode="gray">
          <a:xfrm>
            <a:off x="4881413" y="3501008"/>
            <a:ext cx="1274763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研发</a:t>
            </a:r>
            <a:endParaRPr lang="en-US" altLang="zh-CN" sz="1800" b="1" dirty="0" smtClean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zh-CN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r>
              <a:rPr lang="en-US" altLang="zh-CN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Text Box 64"/>
          <p:cNvSpPr txBox="1">
            <a:spLocks noChangeArrowheads="1"/>
          </p:cNvSpPr>
          <p:nvPr/>
        </p:nvSpPr>
        <p:spPr bwMode="gray">
          <a:xfrm>
            <a:off x="6884996" y="3467661"/>
            <a:ext cx="1303337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批量排产</a:t>
            </a:r>
            <a:endParaRPr lang="en-US" altLang="zh-CN" sz="1800" b="1" dirty="0" smtClean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zh-CN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线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Line 65"/>
          <p:cNvSpPr>
            <a:spLocks noChangeShapeType="1"/>
          </p:cNvSpPr>
          <p:nvPr/>
        </p:nvSpPr>
        <p:spPr bwMode="gray">
          <a:xfrm>
            <a:off x="7480300" y="28702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Line 66"/>
          <p:cNvSpPr>
            <a:spLocks noChangeShapeType="1"/>
          </p:cNvSpPr>
          <p:nvPr/>
        </p:nvSpPr>
        <p:spPr bwMode="gray">
          <a:xfrm flipH="1">
            <a:off x="6616700" y="2868613"/>
            <a:ext cx="163195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Line 68"/>
          <p:cNvSpPr>
            <a:spLocks noChangeShapeType="1"/>
          </p:cNvSpPr>
          <p:nvPr/>
        </p:nvSpPr>
        <p:spPr bwMode="gray">
          <a:xfrm>
            <a:off x="3581400" y="28702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Line 69"/>
          <p:cNvSpPr>
            <a:spLocks noChangeShapeType="1"/>
          </p:cNvSpPr>
          <p:nvPr/>
        </p:nvSpPr>
        <p:spPr bwMode="gray">
          <a:xfrm flipH="1">
            <a:off x="2657475" y="2868613"/>
            <a:ext cx="177165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Line 71"/>
          <p:cNvSpPr>
            <a:spLocks noChangeShapeType="1"/>
          </p:cNvSpPr>
          <p:nvPr/>
        </p:nvSpPr>
        <p:spPr bwMode="gray">
          <a:xfrm>
            <a:off x="5495925" y="44450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Line 72"/>
          <p:cNvSpPr>
            <a:spLocks noChangeShapeType="1"/>
          </p:cNvSpPr>
          <p:nvPr/>
        </p:nvSpPr>
        <p:spPr bwMode="gray">
          <a:xfrm flipH="1">
            <a:off x="4684713" y="4779963"/>
            <a:ext cx="158750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3" name="Group 74"/>
          <p:cNvGrpSpPr>
            <a:grpSpLocks/>
          </p:cNvGrpSpPr>
          <p:nvPr/>
        </p:nvGrpSpPr>
        <p:grpSpPr bwMode="auto">
          <a:xfrm>
            <a:off x="0" y="3184525"/>
            <a:ext cx="9144000" cy="1254125"/>
            <a:chOff x="0" y="2006"/>
            <a:chExt cx="5760" cy="790"/>
          </a:xfrm>
        </p:grpSpPr>
        <p:sp>
          <p:nvSpPr>
            <p:cNvPr id="74" name="Line 75"/>
            <p:cNvSpPr>
              <a:spLocks noChangeShapeType="1"/>
            </p:cNvSpPr>
            <p:nvPr/>
          </p:nvSpPr>
          <p:spPr bwMode="gray">
            <a:xfrm flipH="1">
              <a:off x="0" y="2405"/>
              <a:ext cx="652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Line 76"/>
            <p:cNvSpPr>
              <a:spLocks noChangeShapeType="1"/>
            </p:cNvSpPr>
            <p:nvPr/>
          </p:nvSpPr>
          <p:spPr bwMode="gray">
            <a:xfrm flipH="1">
              <a:off x="3839" y="2405"/>
              <a:ext cx="510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Arc 77"/>
            <p:cNvSpPr>
              <a:spLocks/>
            </p:cNvSpPr>
            <p:nvPr/>
          </p:nvSpPr>
          <p:spPr bwMode="gray">
            <a:xfrm rot="16200000" flipV="1">
              <a:off x="2052" y="1833"/>
              <a:ext cx="412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Arc 78"/>
            <p:cNvSpPr>
              <a:spLocks/>
            </p:cNvSpPr>
            <p:nvPr/>
          </p:nvSpPr>
          <p:spPr bwMode="gray">
            <a:xfrm rot="16200000" flipV="1">
              <a:off x="4503" y="1833"/>
              <a:ext cx="418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Line 79"/>
            <p:cNvSpPr>
              <a:spLocks noChangeShapeType="1"/>
            </p:cNvSpPr>
            <p:nvPr/>
          </p:nvSpPr>
          <p:spPr bwMode="gray">
            <a:xfrm flipH="1">
              <a:off x="2619" y="2405"/>
              <a:ext cx="496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Arc 80"/>
            <p:cNvSpPr>
              <a:spLocks/>
            </p:cNvSpPr>
            <p:nvPr/>
          </p:nvSpPr>
          <p:spPr bwMode="gray">
            <a:xfrm rot="5400000">
              <a:off x="3278" y="2211"/>
              <a:ext cx="400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Line 81"/>
            <p:cNvSpPr>
              <a:spLocks noChangeShapeType="1"/>
            </p:cNvSpPr>
            <p:nvPr/>
          </p:nvSpPr>
          <p:spPr bwMode="gray">
            <a:xfrm flipH="1">
              <a:off x="5071" y="2405"/>
              <a:ext cx="689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Line 82"/>
            <p:cNvSpPr>
              <a:spLocks noChangeShapeType="1"/>
            </p:cNvSpPr>
            <p:nvPr/>
          </p:nvSpPr>
          <p:spPr bwMode="gray">
            <a:xfrm flipH="1">
              <a:off x="1377" y="2405"/>
              <a:ext cx="523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Arc 83"/>
            <p:cNvSpPr>
              <a:spLocks/>
            </p:cNvSpPr>
            <p:nvPr/>
          </p:nvSpPr>
          <p:spPr bwMode="gray">
            <a:xfrm rot="5400000">
              <a:off x="815" y="2211"/>
              <a:ext cx="400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83" name="Picture 84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913" y="3308350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85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350" y="3298825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86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925" y="3317875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87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7075" y="3308350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" name="TextBox 86"/>
          <p:cNvSpPr txBox="1"/>
          <p:nvPr/>
        </p:nvSpPr>
        <p:spPr>
          <a:xfrm>
            <a:off x="811907" y="4869160"/>
            <a:ext cx="17438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确定合作意向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讨论合作方式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规划合作目标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411760" y="1988840"/>
            <a:ext cx="2673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人员对接细节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讨论芯片及云接入方案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4680396" y="4941168"/>
            <a:ext cx="1783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厂家研制新品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试产品性能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6644555" y="1844824"/>
            <a:ext cx="19525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制定排产计划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确定上线时间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创建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预热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7365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884272" y="4365104"/>
            <a:ext cx="3409908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项目接入京东智能云接口人：</a:t>
            </a:r>
            <a:endParaRPr lang="en-US" altLang="zh-CN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宋体" pitchFamily="2" charset="-122"/>
            </a:endParaRPr>
          </a:p>
          <a:p>
            <a:pPr lvl="0"/>
            <a:r>
              <a:rPr lang="zh-CN" altLang="en-US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杨红</a:t>
            </a:r>
            <a:r>
              <a:rPr lang="zh-CN" altLang="en-US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波</a:t>
            </a:r>
            <a:endParaRPr lang="en-US" altLang="zh-CN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宋体" pitchFamily="2" charset="-122"/>
            </a:endParaRPr>
          </a:p>
          <a:p>
            <a:pPr lvl="0"/>
            <a:r>
              <a:rPr lang="zh-CN" altLang="en-US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电话</a:t>
            </a:r>
            <a:r>
              <a:rPr lang="en-US" altLang="zh-CN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/</a:t>
            </a:r>
            <a:r>
              <a:rPr lang="zh-CN" altLang="en-US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微信：</a:t>
            </a:r>
            <a:r>
              <a:rPr lang="en-US" altLang="zh-CN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18728420908</a:t>
            </a:r>
          </a:p>
          <a:p>
            <a:pPr lvl="0"/>
            <a:r>
              <a:rPr lang="zh-CN" altLang="en-US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邮箱：</a:t>
            </a:r>
            <a:r>
              <a:rPr lang="en-US" altLang="zh-CN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  <a:hlinkClick r:id="rId2"/>
              </a:rPr>
              <a:t>yanghongbo1@jd.com</a:t>
            </a:r>
            <a:endParaRPr lang="en-US" altLang="zh-CN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宋体" pitchFamily="2" charset="-122"/>
            </a:endParaRPr>
          </a:p>
          <a:p>
            <a:pPr lvl="0"/>
            <a:endParaRPr lang="en-US" altLang="zh-CN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宋体" pitchFamily="2" charset="-122"/>
            </a:endParaRPr>
          </a:p>
          <a:p>
            <a:pPr lvl="0"/>
            <a:r>
              <a:rPr lang="zh-CN" altLang="en-US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官方网址 </a:t>
            </a:r>
            <a:r>
              <a:rPr lang="en-US" altLang="zh-CN" dirty="0" smtClean="0"/>
              <a:t>http</a:t>
            </a:r>
            <a:r>
              <a:rPr lang="en-US" altLang="zh-CN" dirty="0"/>
              <a:t>://smart.jd.com/</a:t>
            </a:r>
            <a:endParaRPr lang="zh-CN" alt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475656" y="2516703"/>
            <a:ext cx="32979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7200" dirty="0" smtClean="0">
                <a:solidFill>
                  <a:srgbClr val="C00000"/>
                </a:solidFill>
                <a:latin typeface="微软雅黑"/>
                <a:ea typeface="微软雅黑"/>
              </a:rPr>
              <a:t>谢谢！</a:t>
            </a:r>
          </a:p>
        </p:txBody>
      </p:sp>
      <p:pic>
        <p:nvPicPr>
          <p:cNvPr id="2050" name="Picture 2" descr="C:\Users\Administrator\Documents\JDdongdong\JIMEnterprise\yanghongbo\Image\39CB6113-8FD4-482C-B443-641F2FEF7C3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9506" y="4107948"/>
            <a:ext cx="2273379" cy="2273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5829506" y="6230715"/>
            <a:ext cx="227337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/>
                <a:ea typeface="微软雅黑" pitchFamily="34" charset="-122"/>
                <a:cs typeface="宋体" pitchFamily="2" charset="-122"/>
              </a:rPr>
              <a:t> 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 </a:t>
            </a:r>
            <a:r>
              <a:rPr kumimoji="0" lang="zh-CN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官方微信公众号：京东智能云</a:t>
            </a:r>
            <a:endParaRPr kumimoji="0" lang="zh-CN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  <a:cs typeface="宋体" pitchFamily="2" charset="-122"/>
            </a:endParaRPr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5829506" y="3717032"/>
            <a:ext cx="149432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/>
                <a:ea typeface="微软雅黑" pitchFamily="34" charset="-122"/>
                <a:cs typeface="宋体" pitchFamily="2" charset="-122"/>
              </a:rPr>
              <a:t> 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 </a:t>
            </a:r>
            <a:r>
              <a:rPr kumimoji="0" lang="zh-CN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京东超级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APP</a:t>
            </a:r>
            <a:r>
              <a:rPr kumimoji="0" lang="zh-CN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下载</a:t>
            </a:r>
            <a:endParaRPr kumimoji="0" lang="zh-CN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  <a:cs typeface="宋体" pitchFamily="2" charset="-122"/>
            </a:endParaRPr>
          </a:p>
        </p:txBody>
      </p:sp>
      <p:pic>
        <p:nvPicPr>
          <p:cNvPr id="2054" name="Picture 6" descr="c:\users\ADMINI~1\appdata\roaming\360se6\USERDA~1\Temp\333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52"/>
          <a:stretch/>
        </p:blipFill>
        <p:spPr bwMode="auto">
          <a:xfrm>
            <a:off x="5942256" y="1659676"/>
            <a:ext cx="2016000" cy="2055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7403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88478" y="1749716"/>
            <a:ext cx="1831335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marL="177800" marR="0" lvl="0" indent="-177800" defTabSz="914400" eaLnBrk="0" fontAlgn="base" latinLnBrk="0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zh-CN" altLang="en-US" sz="1000" b="0" i="0" u="none" strike="noStrike" kern="0" cap="none" spc="5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活跃用户超过</a:t>
            </a:r>
            <a:r>
              <a:rPr kumimoji="0" lang="en-US" altLang="zh-CN" sz="1000" b="1" i="0" u="none" strike="noStrike" kern="0" cap="none" spc="5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4610</a:t>
            </a:r>
            <a:r>
              <a:rPr kumimoji="0" lang="zh-CN" altLang="en-US" sz="1000" b="1" i="0" u="none" strike="noStrike" kern="0" cap="none" spc="5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endParaRPr kumimoji="0" lang="en-US" altLang="zh-CN" sz="1000" b="1" i="0" u="none" strike="noStrike" kern="0" cap="none" spc="50" normalizeH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7800" lvl="0" indent="-1778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0" lang="zh-CN" altLang="en-US" sz="1000" b="0" i="0" u="none" strike="noStrike" kern="0" cap="none" spc="5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在售商品超过</a:t>
            </a:r>
            <a:r>
              <a:rPr lang="en-US" altLang="zh-CN" sz="1000" b="1" kern="0" spc="5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00</a:t>
            </a:r>
            <a:r>
              <a:rPr lang="zh-CN" altLang="en-US" sz="1000" b="1" kern="0" spc="5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kumimoji="0" lang="zh-CN" altLang="en-US" sz="1000" b="1" i="0" u="none" strike="noStrike" kern="0" cap="none" spc="5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种</a:t>
            </a:r>
          </a:p>
        </p:txBody>
      </p:sp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京东肩负着“让生活变得简单快乐”的核心使命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79306" y="1031055"/>
            <a:ext cx="22365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solidFill>
                  <a:srgbClr val="CC0000"/>
                </a:solidFill>
                <a:latin typeface="Arial Unicode MS" pitchFamily="34" charset="-122"/>
                <a:ea typeface="微软雅黑" pitchFamily="34" charset="-122"/>
                <a:sym typeface="微软雅黑" pitchFamily="34" charset="-122"/>
              </a:rPr>
              <a:t>强大的供应链整合能力</a:t>
            </a:r>
            <a:endParaRPr lang="en-US" altLang="zh-CN" sz="1600" kern="0" dirty="0">
              <a:solidFill>
                <a:srgbClr val="CC0000"/>
              </a:solidFill>
              <a:latin typeface="Arial Unicode MS" pitchFamily="34" charset="-122"/>
              <a:ea typeface="微软雅黑" pitchFamily="34" charset="-122"/>
            </a:endParaRPr>
          </a:p>
          <a:p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2" name="TextBox 1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84625" y="1612927"/>
            <a:ext cx="214193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marL="177800" lvl="0" indent="-1778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000" kern="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主</a:t>
            </a:r>
            <a:r>
              <a:rPr lang="zh-CN" altLang="en-US" sz="1000" kern="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发、技术领先的</a:t>
            </a:r>
            <a:r>
              <a:rPr lang="zh-CN" altLang="en-US" sz="1000" kern="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科技</a:t>
            </a:r>
            <a:endParaRPr lang="en-US" altLang="zh-CN" sz="1000" kern="0" spc="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000" kern="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en-US" sz="1000" kern="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互联网公司</a:t>
            </a:r>
            <a:endParaRPr lang="zh-CN" altLang="en-US" sz="1000" kern="0" spc="5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7800" lvl="0" indent="-1778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000" kern="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掌控全供应</a:t>
            </a:r>
            <a:r>
              <a:rPr lang="zh-CN" altLang="en-US" sz="1000" kern="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链技术的</a:t>
            </a:r>
            <a:r>
              <a:rPr lang="zh-CN" altLang="en-US" sz="1000" kern="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</a:t>
            </a:r>
          </a:p>
        </p:txBody>
      </p:sp>
      <p:sp>
        <p:nvSpPr>
          <p:cNvPr id="14" name="TextBox 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40770" y="1732617"/>
            <a:ext cx="2183359" cy="52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marL="177800" lvl="0" indent="-1778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000" kern="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领先的自营式</a:t>
            </a:r>
            <a:r>
              <a:rPr lang="zh-CN" altLang="en-US" sz="1000" kern="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</a:t>
            </a:r>
            <a:r>
              <a:rPr lang="zh-CN" altLang="en-US" sz="1000" kern="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企业</a:t>
            </a:r>
            <a:endParaRPr lang="zh-CN" altLang="en-US" sz="1000" kern="0" spc="5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7800" lvl="0" indent="-177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000" kern="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 sz="1000" kern="0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大的手机</a:t>
            </a:r>
            <a:r>
              <a:rPr lang="zh-CN" altLang="en-US" sz="1000" kern="0" spc="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零售商</a:t>
            </a:r>
            <a:endParaRPr lang="zh-CN" altLang="en-US" sz="1000" kern="0" spc="5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3556339" y="1031055"/>
            <a:ext cx="20313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b="1" kern="0" dirty="0">
                <a:solidFill>
                  <a:srgbClr val="C81423"/>
                </a:solidFill>
                <a:latin typeface="Arial Unicode MS" pitchFamily="34" charset="-122"/>
                <a:ea typeface="微软雅黑" pitchFamily="34" charset="-122"/>
              </a:rPr>
              <a:t>巨大的平台销售渠道</a:t>
            </a:r>
            <a:endParaRPr lang="en-US" altLang="zh-CN" sz="1600" b="1" kern="0" dirty="0">
              <a:solidFill>
                <a:srgbClr val="C81423"/>
              </a:solidFill>
              <a:latin typeface="Arial Unicode MS" pitchFamily="34" charset="-122"/>
              <a:ea typeface="微软雅黑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228184" y="1028734"/>
            <a:ext cx="223651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3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srgbClr val="C00000"/>
                </a:solidFill>
                <a:latin typeface="Arial Unicode MS" pitchFamily="34" charset="-122"/>
                <a:ea typeface="微软雅黑" pitchFamily="34" charset="-122"/>
                <a:sym typeface="微软雅黑" pitchFamily="34" charset="-122"/>
              </a:rPr>
              <a:t>多年积累的云计算技术</a:t>
            </a:r>
            <a:endParaRPr lang="en-US" altLang="zh-CN" sz="1600" b="1" dirty="0">
              <a:solidFill>
                <a:srgbClr val="C00000"/>
              </a:solidFill>
              <a:latin typeface="Arial Unicode MS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3275856" y="1513021"/>
            <a:ext cx="2492060" cy="1143663"/>
          </a:xfrm>
          <a:prstGeom prst="rect">
            <a:avLst/>
          </a:prstGeom>
          <a:noFill/>
          <a:ln w="7620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Unicode MS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789449" y="1484784"/>
            <a:ext cx="2016224" cy="1152128"/>
          </a:xfrm>
          <a:prstGeom prst="rect">
            <a:avLst/>
          </a:prstGeom>
          <a:noFill/>
          <a:ln w="7620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Unicode MS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262057" y="1512952"/>
            <a:ext cx="2164502" cy="1143797"/>
          </a:xfrm>
          <a:prstGeom prst="rect">
            <a:avLst/>
          </a:prstGeom>
          <a:noFill/>
          <a:ln w="7620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Unicode MS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203848" y="3167389"/>
            <a:ext cx="2560736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defPPr>
              <a:defRPr lang="zh-CN"/>
            </a:defPPr>
            <a:lvl1pPr marL="177800" marR="0" lvl="0" indent="-1778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kumimoji="0" sz="1000" b="0" i="0" u="none" strike="noStrike" kern="0" cap="none" spc="50" normalizeH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Arial" charset="0"/>
                <a:ea typeface="宋体" charset="-122"/>
              </a:defRPr>
            </a:lvl2pPr>
            <a:lvl3pPr marL="1143000" indent="-228600">
              <a:defRPr>
                <a:latin typeface="Arial" charset="0"/>
                <a:ea typeface="宋体" charset="-122"/>
              </a:defRPr>
            </a:lvl3pPr>
            <a:lvl4pPr marL="1600200" indent="-228600">
              <a:defRPr>
                <a:latin typeface="Arial" charset="0"/>
                <a:ea typeface="宋体" charset="-122"/>
              </a:defRPr>
            </a:lvl4pPr>
            <a:lvl5pPr marL="2057400" indent="-228600">
              <a:defRPr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宋体" charset="-122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600" b="1" dirty="0" smtClean="0">
                <a:solidFill>
                  <a:schemeClr val="tx1"/>
                </a:solidFill>
              </a:rPr>
              <a:t>2014</a:t>
            </a:r>
            <a:r>
              <a:rPr lang="zh-CN" altLang="en-US" sz="1600" b="1" dirty="0" smtClean="0">
                <a:solidFill>
                  <a:schemeClr val="tx1"/>
                </a:solidFill>
              </a:rPr>
              <a:t>年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11</a:t>
            </a:r>
            <a:r>
              <a:rPr lang="zh-CN" altLang="en-US" sz="1600" b="1" dirty="0" smtClean="0">
                <a:solidFill>
                  <a:schemeClr val="tx1"/>
                </a:solidFill>
              </a:rPr>
              <a:t>月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11</a:t>
            </a:r>
            <a:r>
              <a:rPr lang="zh-CN" altLang="en-US" sz="1600" b="1" dirty="0" smtClean="0">
                <a:solidFill>
                  <a:schemeClr val="tx1"/>
                </a:solidFill>
              </a:rPr>
              <a:t>日单日</a:t>
            </a:r>
            <a:endParaRPr lang="en-US" altLang="zh-CN" sz="1600" b="1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 smtClean="0">
                <a:solidFill>
                  <a:schemeClr val="tx1"/>
                </a:solidFill>
              </a:rPr>
              <a:t>订单</a:t>
            </a:r>
            <a:r>
              <a:rPr lang="zh-CN" altLang="en-US" sz="1600" dirty="0">
                <a:solidFill>
                  <a:schemeClr val="tx1"/>
                </a:solidFill>
              </a:rPr>
              <a:t>超过</a:t>
            </a:r>
            <a:r>
              <a:rPr lang="en-US" altLang="zh-CN" sz="1600" dirty="0">
                <a:solidFill>
                  <a:srgbClr val="0071E2"/>
                </a:solidFill>
              </a:rPr>
              <a:t>1400</a:t>
            </a:r>
            <a:r>
              <a:rPr lang="zh-CN" altLang="en-US" sz="1600" dirty="0">
                <a:solidFill>
                  <a:srgbClr val="0071E2"/>
                </a:solidFill>
              </a:rPr>
              <a:t>万单</a:t>
            </a:r>
            <a:endParaRPr lang="en-US" altLang="zh-CN" sz="1600" dirty="0">
              <a:solidFill>
                <a:srgbClr val="0071E2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 smtClean="0">
                <a:solidFill>
                  <a:schemeClr val="tx1"/>
                </a:solidFill>
              </a:rPr>
              <a:t>商品</a:t>
            </a:r>
            <a:r>
              <a:rPr lang="zh-CN" altLang="en-US" sz="1600" dirty="0">
                <a:solidFill>
                  <a:schemeClr val="tx1"/>
                </a:solidFill>
              </a:rPr>
              <a:t>超过</a:t>
            </a:r>
            <a:r>
              <a:rPr lang="en-US" altLang="zh-CN" sz="1600" dirty="0">
                <a:solidFill>
                  <a:srgbClr val="0071E2"/>
                </a:solidFill>
              </a:rPr>
              <a:t>3500</a:t>
            </a:r>
            <a:r>
              <a:rPr lang="zh-CN" altLang="en-US" sz="1600" dirty="0">
                <a:solidFill>
                  <a:srgbClr val="0071E2"/>
                </a:solidFill>
              </a:rPr>
              <a:t>万</a:t>
            </a:r>
            <a:r>
              <a:rPr lang="zh-CN" altLang="en-US" sz="1600" dirty="0" smtClean="0">
                <a:solidFill>
                  <a:srgbClr val="0071E2"/>
                </a:solidFill>
              </a:rPr>
              <a:t>件</a:t>
            </a:r>
            <a:endParaRPr lang="en-US" altLang="zh-CN" sz="1600" dirty="0">
              <a:solidFill>
                <a:srgbClr val="0071E2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298747" y="3261176"/>
            <a:ext cx="26657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智能硬件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销售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入口</a:t>
            </a:r>
          </a:p>
        </p:txBody>
      </p:sp>
      <p:sp>
        <p:nvSpPr>
          <p:cNvPr id="35" name="矩形 34"/>
          <p:cNvSpPr/>
          <p:nvPr/>
        </p:nvSpPr>
        <p:spPr>
          <a:xfrm>
            <a:off x="6655780" y="3671738"/>
            <a:ext cx="2016224" cy="47068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36" name="TextBox 35"/>
          <p:cNvSpPr txBox="1"/>
          <p:nvPr/>
        </p:nvSpPr>
        <p:spPr>
          <a:xfrm>
            <a:off x="6835800" y="3757125"/>
            <a:ext cx="15526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生活馆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6671556" y="4791880"/>
            <a:ext cx="2016224" cy="47068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38" name="TextBox 37"/>
          <p:cNvSpPr txBox="1"/>
          <p:nvPr/>
        </p:nvSpPr>
        <p:spPr>
          <a:xfrm>
            <a:off x="6876256" y="4885374"/>
            <a:ext cx="15526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众筹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6671556" y="5334576"/>
            <a:ext cx="2016224" cy="47068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40" name="TextBox 39"/>
          <p:cNvSpPr txBox="1"/>
          <p:nvPr/>
        </p:nvSpPr>
        <p:spPr>
          <a:xfrm>
            <a:off x="6876256" y="5445224"/>
            <a:ext cx="15526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JD+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655780" y="4231588"/>
            <a:ext cx="2016224" cy="47068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42" name="TextBox 41"/>
          <p:cNvSpPr txBox="1"/>
          <p:nvPr/>
        </p:nvSpPr>
        <p:spPr>
          <a:xfrm>
            <a:off x="6516216" y="4291714"/>
            <a:ext cx="23087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京东超级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右箭头 42"/>
          <p:cNvSpPr/>
          <p:nvPr/>
        </p:nvSpPr>
        <p:spPr>
          <a:xfrm>
            <a:off x="6300192" y="3815754"/>
            <a:ext cx="283580" cy="188597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>
            <a:off x="6300192" y="4347237"/>
            <a:ext cx="283580" cy="188597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右箭头 44"/>
          <p:cNvSpPr/>
          <p:nvPr/>
        </p:nvSpPr>
        <p:spPr>
          <a:xfrm>
            <a:off x="6300192" y="4895874"/>
            <a:ext cx="283580" cy="188597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右箭头 45"/>
          <p:cNvSpPr/>
          <p:nvPr/>
        </p:nvSpPr>
        <p:spPr>
          <a:xfrm>
            <a:off x="6300192" y="5427357"/>
            <a:ext cx="283580" cy="188597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下箭头 46"/>
          <p:cNvSpPr/>
          <p:nvPr/>
        </p:nvSpPr>
        <p:spPr>
          <a:xfrm>
            <a:off x="6156176" y="3405192"/>
            <a:ext cx="216024" cy="2354778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TextBox 29"/>
          <p:cNvSpPr txBox="1"/>
          <p:nvPr/>
        </p:nvSpPr>
        <p:spPr>
          <a:xfrm>
            <a:off x="539552" y="3167389"/>
            <a:ext cx="2560736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defPPr>
              <a:defRPr lang="zh-CN"/>
            </a:defPPr>
            <a:lvl1pPr marL="177800" marR="0" lvl="0" indent="-1778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kumimoji="0" sz="1000" b="0" i="0" u="none" strike="noStrike" kern="0" cap="none" spc="50" normalizeH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latin typeface="Arial" charset="0"/>
                <a:ea typeface="宋体" charset="-122"/>
              </a:defRPr>
            </a:lvl2pPr>
            <a:lvl3pPr marL="1143000" indent="-228600">
              <a:defRPr>
                <a:latin typeface="Arial" charset="0"/>
                <a:ea typeface="宋体" charset="-122"/>
              </a:defRPr>
            </a:lvl3pPr>
            <a:lvl4pPr marL="1600200" indent="-228600">
              <a:defRPr>
                <a:latin typeface="Arial" charset="0"/>
                <a:ea typeface="宋体" charset="-122"/>
              </a:defRPr>
            </a:lvl4pPr>
            <a:lvl5pPr marL="2057400" indent="-228600">
              <a:defRPr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宋体" charset="-122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600" b="1" dirty="0" smtClean="0">
                <a:solidFill>
                  <a:schemeClr val="tx1"/>
                </a:solidFill>
              </a:rPr>
              <a:t>京东</a:t>
            </a:r>
            <a:r>
              <a:rPr lang="zh-CN" altLang="en-US" sz="1600" b="1" dirty="0">
                <a:solidFill>
                  <a:schemeClr val="tx1"/>
                </a:solidFill>
              </a:rPr>
              <a:t>强大的物流能力</a:t>
            </a:r>
            <a:endParaRPr lang="en-US" altLang="zh-CN" sz="1600" b="1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 smtClean="0">
                <a:solidFill>
                  <a:schemeClr val="tx1"/>
                </a:solidFill>
              </a:rPr>
              <a:t>仓库：</a:t>
            </a:r>
            <a:r>
              <a:rPr lang="en-US" altLang="zh-CN" sz="1600" dirty="0" smtClean="0">
                <a:solidFill>
                  <a:schemeClr val="tx1"/>
                </a:solidFill>
              </a:rPr>
              <a:t>39</a:t>
            </a:r>
            <a:r>
              <a:rPr lang="zh-CN" altLang="en-US" sz="1600" dirty="0" smtClean="0">
                <a:solidFill>
                  <a:schemeClr val="tx1"/>
                </a:solidFill>
              </a:rPr>
              <a:t>城</a:t>
            </a:r>
            <a:r>
              <a:rPr lang="en-US" altLang="zh-CN" sz="1600" dirty="0" smtClean="0">
                <a:solidFill>
                  <a:schemeClr val="tx1"/>
                </a:solidFill>
              </a:rPr>
              <a:t>118</a:t>
            </a:r>
            <a:r>
              <a:rPr lang="zh-CN" altLang="en-US" sz="1600" dirty="0">
                <a:solidFill>
                  <a:schemeClr val="tx1"/>
                </a:solidFill>
              </a:rPr>
              <a:t>仓</a:t>
            </a:r>
            <a:endParaRPr lang="en-US" altLang="zh-CN" sz="1600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 smtClean="0">
                <a:solidFill>
                  <a:schemeClr val="tx1"/>
                </a:solidFill>
              </a:rPr>
              <a:t>配送</a:t>
            </a:r>
            <a:r>
              <a:rPr lang="zh-CN" altLang="en-US" sz="1600" dirty="0">
                <a:solidFill>
                  <a:schemeClr val="tx1"/>
                </a:solidFill>
              </a:rPr>
              <a:t>站：</a:t>
            </a:r>
            <a:r>
              <a:rPr lang="en-US" altLang="zh-CN" sz="1600" dirty="0">
                <a:solidFill>
                  <a:schemeClr val="tx1"/>
                </a:solidFill>
              </a:rPr>
              <a:t>2045</a:t>
            </a:r>
            <a:r>
              <a:rPr lang="zh-CN" altLang="en-US" sz="1600" dirty="0">
                <a:solidFill>
                  <a:schemeClr val="tx1"/>
                </a:solidFill>
              </a:rPr>
              <a:t>个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600" dirty="0">
                <a:solidFill>
                  <a:schemeClr val="tx1"/>
                </a:solidFill>
              </a:rPr>
              <a:t>自提点：</a:t>
            </a:r>
            <a:r>
              <a:rPr lang="en-US" altLang="zh-CN" sz="1600" dirty="0">
                <a:solidFill>
                  <a:schemeClr val="tx1"/>
                </a:solidFill>
              </a:rPr>
              <a:t>1045</a:t>
            </a:r>
            <a:endParaRPr lang="en-US" altLang="zh-CN" sz="1600" dirty="0">
              <a:solidFill>
                <a:srgbClr val="0071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402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智能生活馆”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亮相</a:t>
            </a:r>
          </a:p>
        </p:txBody>
      </p:sp>
      <p:sp>
        <p:nvSpPr>
          <p:cNvPr id="17" name="标题 1"/>
          <p:cNvSpPr txBox="1">
            <a:spLocks/>
          </p:cNvSpPr>
          <p:nvPr/>
        </p:nvSpPr>
        <p:spPr>
          <a:xfrm>
            <a:off x="5868144" y="1052736"/>
            <a:ext cx="3384376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京东智能生活馆上线，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40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余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款支持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“京东超级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APP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”的智能硬件亮相。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8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智能硬件预售专区，为新品上市造势，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博得首桶金。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105" name="Picture 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4538" y="4564850"/>
            <a:ext cx="2700000" cy="2040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488" y="4564851"/>
            <a:ext cx="2700000" cy="2025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7" name="Picture 1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202" y="4564851"/>
            <a:ext cx="2700000" cy="2034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8" name="Picture 1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67" y="2644888"/>
            <a:ext cx="2700000" cy="1609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9" name="Picture 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4538" y="2644889"/>
            <a:ext cx="2700000" cy="161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0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488" y="2644888"/>
            <a:ext cx="2700000" cy="160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1" name="Picture 1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291" y="1052736"/>
            <a:ext cx="2700000" cy="1257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2" name="Picture 1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202" y="1145376"/>
            <a:ext cx="2700000" cy="1170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5267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超级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为智能硬件开辟的购买专区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146" name="Picture 2" descr="F:\Pictures\Screenshots\Screenshot_2014-11-14-01-13-1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772816"/>
            <a:ext cx="2160000" cy="38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Users\Administrator\Desktop\Screenshot_2014-11-14-01-14-08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360" y="1772816"/>
            <a:ext cx="2160000" cy="38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9" name="Picture 5" descr="C:\Users\Administrator\Desktop\Screenshot_2014-11-14-01-13-35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416" y="1772816"/>
            <a:ext cx="2160000" cy="38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4680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9" y="2463654"/>
            <a:ext cx="4010593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众筹，筹得头彩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标题 1"/>
          <p:cNvSpPr txBox="1">
            <a:spLocks/>
          </p:cNvSpPr>
          <p:nvPr/>
        </p:nvSpPr>
        <p:spPr>
          <a:xfrm>
            <a:off x="4067944" y="1035313"/>
            <a:ext cx="5076056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京东众筹从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7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日上线至今，超过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50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款智能硬件众筹成功；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有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个正在进行的项目，众筹资金</a:t>
            </a:r>
            <a:r>
              <a:rPr lang="zh-CN" altLang="en-US" sz="140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超过百万元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；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50%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以上的项目，支持人数超过千人；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三个爸爸空气净化器，筹得资金</a:t>
            </a:r>
            <a:r>
              <a:rPr lang="zh-CN" altLang="en-US" sz="14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超过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1122</a:t>
            </a:r>
            <a:r>
              <a:rPr lang="zh-CN" altLang="en-US" sz="14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万元</a:t>
            </a:r>
            <a:endParaRPr lang="en-US" altLang="zh-CN" sz="1400" dirty="0" smtClean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751" y="973672"/>
            <a:ext cx="3135137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146" y="4005064"/>
            <a:ext cx="4058838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06" y="5510176"/>
            <a:ext cx="4022878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2463654"/>
            <a:ext cx="1994553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8544" y="2463654"/>
            <a:ext cx="3951928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5648" y="4031727"/>
            <a:ext cx="4076764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" r="3501"/>
          <a:stretch/>
        </p:blipFill>
        <p:spPr bwMode="auto">
          <a:xfrm>
            <a:off x="4868544" y="5510176"/>
            <a:ext cx="3951928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圆角矩形 20"/>
          <p:cNvSpPr/>
          <p:nvPr/>
        </p:nvSpPr>
        <p:spPr>
          <a:xfrm>
            <a:off x="279071" y="973672"/>
            <a:ext cx="3640176" cy="1303200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22" name="圆角矩形 21"/>
          <p:cNvSpPr/>
          <p:nvPr/>
        </p:nvSpPr>
        <p:spPr>
          <a:xfrm>
            <a:off x="251520" y="2485840"/>
            <a:ext cx="8650892" cy="1303200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27" name="圆角矩形 26"/>
          <p:cNvSpPr/>
          <p:nvPr/>
        </p:nvSpPr>
        <p:spPr>
          <a:xfrm>
            <a:off x="251520" y="4005064"/>
            <a:ext cx="8650892" cy="1303200"/>
          </a:xfrm>
          <a:prstGeom prst="round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 dirty="0"/>
          </a:p>
        </p:txBody>
      </p:sp>
      <p:sp>
        <p:nvSpPr>
          <p:cNvPr id="29" name="圆角矩形 28"/>
          <p:cNvSpPr/>
          <p:nvPr/>
        </p:nvSpPr>
        <p:spPr>
          <a:xfrm>
            <a:off x="251520" y="5510176"/>
            <a:ext cx="8650892" cy="1303200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10647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JD+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计划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05"/>
          <a:stretch/>
        </p:blipFill>
        <p:spPr bwMode="auto">
          <a:xfrm>
            <a:off x="581795" y="1490394"/>
            <a:ext cx="3443278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2876" y="1484784"/>
            <a:ext cx="1173543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416"/>
          <a:stretch/>
        </p:blipFill>
        <p:spPr bwMode="auto">
          <a:xfrm>
            <a:off x="6568080" y="1517691"/>
            <a:ext cx="2324400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79" y="3213748"/>
            <a:ext cx="1149677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1844" y="3213948"/>
            <a:ext cx="1241557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351" y="3213948"/>
            <a:ext cx="1215000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矩形 21"/>
          <p:cNvSpPr/>
          <p:nvPr/>
        </p:nvSpPr>
        <p:spPr>
          <a:xfrm>
            <a:off x="221755" y="1562402"/>
            <a:ext cx="360040" cy="116018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手环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7822" y="1490594"/>
            <a:ext cx="1137176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矩形 23"/>
          <p:cNvSpPr/>
          <p:nvPr/>
        </p:nvSpPr>
        <p:spPr>
          <a:xfrm>
            <a:off x="4902275" y="1562402"/>
            <a:ext cx="360040" cy="1160186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手表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221755" y="3289437"/>
            <a:ext cx="360040" cy="1160186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动追踪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136" y="3245883"/>
            <a:ext cx="2403443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8579" y="3225487"/>
            <a:ext cx="1162742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矩形 25"/>
          <p:cNvSpPr/>
          <p:nvPr/>
        </p:nvSpPr>
        <p:spPr>
          <a:xfrm>
            <a:off x="4902275" y="3289437"/>
            <a:ext cx="360040" cy="11601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健康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测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392" y="4937891"/>
            <a:ext cx="1112531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3923" y="4938091"/>
            <a:ext cx="1123548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750" y="4938091"/>
            <a:ext cx="1196515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矩形 31"/>
          <p:cNvSpPr/>
          <p:nvPr/>
        </p:nvSpPr>
        <p:spPr>
          <a:xfrm>
            <a:off x="221755" y="5026048"/>
            <a:ext cx="360040" cy="116018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配饰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Picture 1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0140" y="4938091"/>
            <a:ext cx="1084303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4" name="Picture 1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8579" y="4974075"/>
            <a:ext cx="1211539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3" name="Picture 17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443" y="4938091"/>
            <a:ext cx="1149677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矩形 35"/>
          <p:cNvSpPr/>
          <p:nvPr/>
        </p:nvSpPr>
        <p:spPr>
          <a:xfrm>
            <a:off x="4902275" y="5026048"/>
            <a:ext cx="360040" cy="116018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家居安防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标题 1"/>
          <p:cNvSpPr txBox="1">
            <a:spLocks/>
          </p:cNvSpPr>
          <p:nvPr/>
        </p:nvSpPr>
        <p:spPr>
          <a:xfrm>
            <a:off x="598901" y="982469"/>
            <a:ext cx="8251217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云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麦体脂秤，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11.11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单日在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京东销售超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5000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台，品类第一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92798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2331" y="2414034"/>
            <a:ext cx="900000" cy="876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圆角矩形 24"/>
          <p:cNvSpPr/>
          <p:nvPr/>
        </p:nvSpPr>
        <p:spPr>
          <a:xfrm>
            <a:off x="1907704" y="4007473"/>
            <a:ext cx="3211300" cy="12385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24" name="圆角矩形 23"/>
          <p:cNvSpPr/>
          <p:nvPr/>
        </p:nvSpPr>
        <p:spPr>
          <a:xfrm>
            <a:off x="1907704" y="5426761"/>
            <a:ext cx="3211300" cy="123857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2" name="圆角矩形 1"/>
          <p:cNvSpPr/>
          <p:nvPr/>
        </p:nvSpPr>
        <p:spPr>
          <a:xfrm>
            <a:off x="1936764" y="1052736"/>
            <a:ext cx="3211300" cy="1305037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接入京东智能云的产品品类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628800"/>
            <a:ext cx="1440000" cy="74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12" y="971811"/>
            <a:ext cx="1335435" cy="805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6" y="5547660"/>
            <a:ext cx="866074" cy="856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979712" y="1250757"/>
            <a:ext cx="31683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远程开关机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烟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灶联动，烟热联动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远程关火，定时关火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火候把握，余热显示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79712" y="5642084"/>
            <a:ext cx="30243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八项身体数据，全面健康记录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蓝牙同步，数据全云存储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72" y="4005064"/>
            <a:ext cx="995824" cy="1199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979712" y="4203085"/>
            <a:ext cx="30243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远程控制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海量食谱下载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朋友圈食谱分享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107504" y="1075622"/>
            <a:ext cx="360040" cy="11601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烟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机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灶具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07504" y="5509174"/>
            <a:ext cx="360040" cy="116018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秤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07504" y="4044793"/>
            <a:ext cx="360040" cy="116018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豆浆机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2567" y="2461436"/>
            <a:ext cx="1008000" cy="730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936307" y="3224009"/>
            <a:ext cx="810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空调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006255" y="3224009"/>
            <a:ext cx="810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电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烤箱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940574" y="4883414"/>
            <a:ext cx="810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灯具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720283" y="4883414"/>
            <a:ext cx="810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插座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952531" y="4883414"/>
            <a:ext cx="10119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血压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血糖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845756" y="6464369"/>
            <a:ext cx="11706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加湿器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871747" y="6464369"/>
            <a:ext cx="810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取暖器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38" y="2594040"/>
            <a:ext cx="1172750" cy="1196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6782119" y="3224009"/>
            <a:ext cx="810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热水器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326" y="2340411"/>
            <a:ext cx="900000" cy="897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2119" y="3933056"/>
            <a:ext cx="900000" cy="897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7252" y="3933086"/>
            <a:ext cx="900000" cy="897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7252" y="5534609"/>
            <a:ext cx="900000" cy="902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8" name="Picture 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2119" y="5534609"/>
            <a:ext cx="900000" cy="897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圆角矩形 42"/>
          <p:cNvSpPr/>
          <p:nvPr/>
        </p:nvSpPr>
        <p:spPr>
          <a:xfrm>
            <a:off x="1936764" y="2556011"/>
            <a:ext cx="3211300" cy="130503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44" name="TextBox 43"/>
          <p:cNvSpPr txBox="1"/>
          <p:nvPr/>
        </p:nvSpPr>
        <p:spPr>
          <a:xfrm>
            <a:off x="1979712" y="2762925"/>
            <a:ext cx="31683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随时随地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控制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滤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网使用状况一目了然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空气质量实时监测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睡眠模式智能切换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107504" y="2578897"/>
            <a:ext cx="360040" cy="116018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空气净化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130" name="Picture 10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508" y="3935925"/>
            <a:ext cx="998441" cy="98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8080356" y="6464369"/>
            <a:ext cx="810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净水器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标题 1"/>
          <p:cNvSpPr txBox="1">
            <a:spLocks/>
          </p:cNvSpPr>
          <p:nvPr/>
        </p:nvSpPr>
        <p:spPr>
          <a:xfrm>
            <a:off x="5412857" y="1052736"/>
            <a:ext cx="3551631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已经有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40</a:t>
            </a: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余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款接入</a:t>
            </a: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京东智能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云的产品，上架销售，还有一大波产品努力赶来。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长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帝智能电烤箱，</a:t>
            </a:r>
            <a:r>
              <a:rPr lang="en-US" altLang="zh-CN" sz="140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11.11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单日销售超过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1500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台。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8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14" y="5534608"/>
            <a:ext cx="1266455" cy="1281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9366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395536" y="1220755"/>
            <a:ext cx="8424936" cy="50270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>
              <a:lnSpc>
                <a:spcPts val="16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到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，根据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isco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告预测，全球将会有 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 的智能设备联网；思科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EO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钱伯斯称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产值届时将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达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亿美元 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sp>
        <p:nvSpPr>
          <p:cNvPr id="8" name="标题 1"/>
          <p:cNvSpPr txBox="1">
            <a:spLocks/>
          </p:cNvSpPr>
          <p:nvPr/>
        </p:nvSpPr>
        <p:spPr>
          <a:xfrm>
            <a:off x="395536" y="260648"/>
            <a:ext cx="2592288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物联网时代已经来临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Picture 2" descr="D:\工作文件\通用\发布会PPT\google-glas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34" y="2276872"/>
            <a:ext cx="5089078" cy="3744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八边形 4"/>
          <p:cNvSpPr/>
          <p:nvPr/>
        </p:nvSpPr>
        <p:spPr>
          <a:xfrm>
            <a:off x="5940152" y="2204864"/>
            <a:ext cx="1296144" cy="1201102"/>
          </a:xfrm>
          <a:prstGeom prst="octagon">
            <a:avLst/>
          </a:prstGeom>
          <a:noFill/>
          <a:ln w="9525">
            <a:solidFill>
              <a:srgbClr val="DEDE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72700" y="2493865"/>
            <a:ext cx="1031051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endParaRPr lang="en-US" altLang="zh-CN" dirty="0" smtClean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联网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</a:t>
            </a:r>
            <a:endParaRPr lang="zh-CN" altLang="en-US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八边形 11"/>
          <p:cNvSpPr/>
          <p:nvPr/>
        </p:nvSpPr>
        <p:spPr>
          <a:xfrm>
            <a:off x="7308304" y="3176970"/>
            <a:ext cx="1296144" cy="1188134"/>
          </a:xfrm>
          <a:prstGeom prst="octagon">
            <a:avLst/>
          </a:prstGeom>
          <a:noFill/>
          <a:ln w="9525">
            <a:solidFill>
              <a:srgbClr val="DEDE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498558" y="3501732"/>
            <a:ext cx="915635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亿</a:t>
            </a:r>
            <a:endParaRPr lang="en-US" altLang="zh-CN" dirty="0" smtClean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行业产值</a:t>
            </a:r>
          </a:p>
        </p:txBody>
      </p:sp>
      <p:sp>
        <p:nvSpPr>
          <p:cNvPr id="14" name="八边形 13"/>
          <p:cNvSpPr/>
          <p:nvPr/>
        </p:nvSpPr>
        <p:spPr>
          <a:xfrm>
            <a:off x="6372201" y="4725144"/>
            <a:ext cx="1440160" cy="1152128"/>
          </a:xfrm>
          <a:prstGeom prst="octagon">
            <a:avLst/>
          </a:prstGeom>
          <a:noFill/>
          <a:ln w="9525">
            <a:solidFill>
              <a:srgbClr val="DEDE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732564" y="4896948"/>
            <a:ext cx="74892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</a:t>
            </a:r>
            <a:endParaRPr lang="en-US" altLang="zh-CN" dirty="0" smtClean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均拥有</a:t>
            </a:r>
            <a:endParaRPr lang="en-US" altLang="zh-CN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联网设备</a:t>
            </a:r>
            <a:endParaRPr lang="zh-CN" altLang="en-US" sz="11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48495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97O.oOx0C9Eh7fSOfa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97O.oOx0C9Eh7fSOfa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97O.oOx0C9Eh7fSOfa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97O.oOx0C9Eh7fSOfaAA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1000">
              <a:srgbClr val="FF0000"/>
            </a:gs>
            <a:gs pos="100000">
              <a:srgbClr val="C00000"/>
            </a:gs>
            <a:gs pos="100000">
              <a:srgbClr val="C00000"/>
            </a:gs>
          </a:gsLst>
          <a:lin ang="5400000" scaled="1"/>
          <a:tileRect/>
        </a:gradFill>
        <a:ln w="9525">
          <a:solidFill>
            <a:srgbClr val="F8F8F8"/>
          </a:solidFill>
        </a:ln>
      </a:spPr>
      <a:bodyPr rtlCol="0" anchor="ctr"/>
      <a:lstStyle>
        <a:defPPr algn="ctr">
          <a:defRPr sz="1600" dirty="0" smtClean="0">
            <a:solidFill>
              <a:schemeClr val="bg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18360</TotalTime>
  <Words>1336</Words>
  <Application>Microsoft Office PowerPoint</Application>
  <PresentationFormat>全屏显示(4:3)</PresentationFormat>
  <Paragraphs>318</Paragraphs>
  <Slides>27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30" baseType="lpstr">
      <vt:lpstr>JD Template V2.0</vt:lpstr>
      <vt:lpstr>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京东智能家居云介绍</dc:title>
  <dc:creator>huangyuqin@jd.com</dc:creator>
  <cp:lastModifiedBy>yanghongbo</cp:lastModifiedBy>
  <cp:revision>778</cp:revision>
  <dcterms:created xsi:type="dcterms:W3CDTF">2013-11-13T04:04:11Z</dcterms:created>
  <dcterms:modified xsi:type="dcterms:W3CDTF">2014-11-26T07:12:55Z</dcterms:modified>
</cp:coreProperties>
</file>